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sldIdLst>
    <p:sldId id="11425" r:id="rId5"/>
    <p:sldId id="11423" r:id="rId6"/>
    <p:sldId id="11588" r:id="rId7"/>
    <p:sldId id="281" r:id="rId8"/>
    <p:sldId id="11595" r:id="rId9"/>
    <p:sldId id="11593" r:id="rId10"/>
    <p:sldId id="11447" r:id="rId11"/>
  </p:sldIdLst>
  <p:sldSz cx="12192000" cy="6858000"/>
  <p:notesSz cx="6858000" cy="9144000"/>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651EF3-FA3D-4876-B750-1E9A527258DC}" v="1111" dt="2021-11-08T06:11:16.228"/>
    <p1510:client id="{4B89F301-2C64-4D6B-8296-D4514FFABB0F}" v="1" dt="2021-11-07T20:27:10.868"/>
    <p1510:client id="{4F23E1B0-48AA-4D41-A878-2359AAB75D8B}" v="437" dt="2021-11-07T22:55:03.937"/>
    <p1510:client id="{4F526E21-4110-4048-B563-7C1BDA38EFF4}" v="16236" dt="2021-11-08T03:12:24.599"/>
    <p1510:client id="{F9B2F439-69B6-4C1B-B9CE-B60AE478091E}" v="5" dt="2021-11-07T21:09:17.6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ta Veera Venkta" userId="S::tveeravenkta2020@student.hult.edu::821e509d-86d1-4d40-9e04-5d92f065258c" providerId="AD" clId="Web-{882AC582-CDF5-41B0-9210-CB2DEAD20F7C}"/>
    <pc:docChg chg="delSld modSld sldOrd">
      <pc:chgData name="Thota Veera Venkta" userId="S::tveeravenkta2020@student.hult.edu::821e509d-86d1-4d40-9e04-5d92f065258c" providerId="AD" clId="Web-{882AC582-CDF5-41B0-9210-CB2DEAD20F7C}" dt="2021-11-06T22:35:16.567" v="358" actId="20577"/>
      <pc:docMkLst>
        <pc:docMk/>
      </pc:docMkLst>
      <pc:sldChg chg="modSp">
        <pc:chgData name="Thota Veera Venkta" userId="S::tveeravenkta2020@student.hult.edu::821e509d-86d1-4d40-9e04-5d92f065258c" providerId="AD" clId="Web-{882AC582-CDF5-41B0-9210-CB2DEAD20F7C}" dt="2021-11-06T22:35:16.567" v="358" actId="20577"/>
        <pc:sldMkLst>
          <pc:docMk/>
          <pc:sldMk cId="2727697734" sldId="11447"/>
        </pc:sldMkLst>
        <pc:spChg chg="mod">
          <ac:chgData name="Thota Veera Venkta" userId="S::tveeravenkta2020@student.hult.edu::821e509d-86d1-4d40-9e04-5d92f065258c" providerId="AD" clId="Web-{882AC582-CDF5-41B0-9210-CB2DEAD20F7C}" dt="2021-11-06T22:35:16.567" v="358" actId="20577"/>
          <ac:spMkLst>
            <pc:docMk/>
            <pc:sldMk cId="2727697734" sldId="11447"/>
            <ac:spMk id="115" creationId="{5C97DFB9-67DA-41F9-9F89-483D41D1C2FE}"/>
          </ac:spMkLst>
        </pc:spChg>
      </pc:sldChg>
      <pc:sldChg chg="ord">
        <pc:chgData name="Thota Veera Venkta" userId="S::tveeravenkta2020@student.hult.edu::821e509d-86d1-4d40-9e04-5d92f065258c" providerId="AD" clId="Web-{882AC582-CDF5-41B0-9210-CB2DEAD20F7C}" dt="2021-11-06T21:44:54.610" v="55"/>
        <pc:sldMkLst>
          <pc:docMk/>
          <pc:sldMk cId="3067822336" sldId="11589"/>
        </pc:sldMkLst>
      </pc:sldChg>
      <pc:sldChg chg="del">
        <pc:chgData name="Thota Veera Venkta" userId="S::tveeravenkta2020@student.hult.edu::821e509d-86d1-4d40-9e04-5d92f065258c" providerId="AD" clId="Web-{882AC582-CDF5-41B0-9210-CB2DEAD20F7C}" dt="2021-11-06T21:39:48.711" v="0"/>
        <pc:sldMkLst>
          <pc:docMk/>
          <pc:sldMk cId="2571279601" sldId="11592"/>
        </pc:sldMkLst>
      </pc:sldChg>
      <pc:sldChg chg="delSp modSp ord modNotes">
        <pc:chgData name="Thota Veera Venkta" userId="S::tveeravenkta2020@student.hult.edu::821e509d-86d1-4d40-9e04-5d92f065258c" providerId="AD" clId="Web-{882AC582-CDF5-41B0-9210-CB2DEAD20F7C}" dt="2021-11-06T21:44:49.126" v="54"/>
        <pc:sldMkLst>
          <pc:docMk/>
          <pc:sldMk cId="1233791222" sldId="11593"/>
        </pc:sldMkLst>
        <pc:spChg chg="del">
          <ac:chgData name="Thota Veera Venkta" userId="S::tveeravenkta2020@student.hult.edu::821e509d-86d1-4d40-9e04-5d92f065258c" providerId="AD" clId="Web-{882AC582-CDF5-41B0-9210-CB2DEAD20F7C}" dt="2021-11-06T21:40:10.650" v="16"/>
          <ac:spMkLst>
            <pc:docMk/>
            <pc:sldMk cId="1233791222" sldId="11593"/>
            <ac:spMk id="5" creationId="{E2190164-AD24-4823-AF5C-8163B9CF9383}"/>
          </ac:spMkLst>
        </pc:spChg>
        <pc:spChg chg="del mod">
          <ac:chgData name="Thota Veera Venkta" userId="S::tveeravenkta2020@student.hult.edu::821e509d-86d1-4d40-9e04-5d92f065258c" providerId="AD" clId="Web-{882AC582-CDF5-41B0-9210-CB2DEAD20F7C}" dt="2021-11-06T21:39:59.947" v="5"/>
          <ac:spMkLst>
            <pc:docMk/>
            <pc:sldMk cId="1233791222" sldId="11593"/>
            <ac:spMk id="16" creationId="{0B9C32FB-4052-4560-ADBA-C72BDF143C9C}"/>
          </ac:spMkLst>
        </pc:spChg>
        <pc:spChg chg="del">
          <ac:chgData name="Thota Veera Venkta" userId="S::tveeravenkta2020@student.hult.edu::821e509d-86d1-4d40-9e04-5d92f065258c" providerId="AD" clId="Web-{882AC582-CDF5-41B0-9210-CB2DEAD20F7C}" dt="2021-11-06T21:39:57.572" v="2"/>
          <ac:spMkLst>
            <pc:docMk/>
            <pc:sldMk cId="1233791222" sldId="11593"/>
            <ac:spMk id="18" creationId="{B15E69F6-944E-49BD-B06F-34B08A46DED1}"/>
          </ac:spMkLst>
        </pc:spChg>
        <pc:spChg chg="del">
          <ac:chgData name="Thota Veera Venkta" userId="S::tveeravenkta2020@student.hult.edu::821e509d-86d1-4d40-9e04-5d92f065258c" providerId="AD" clId="Web-{882AC582-CDF5-41B0-9210-CB2DEAD20F7C}" dt="2021-11-06T21:39:57.572" v="1"/>
          <ac:spMkLst>
            <pc:docMk/>
            <pc:sldMk cId="1233791222" sldId="11593"/>
            <ac:spMk id="19" creationId="{FAD800A3-D702-44F0-AA97-C198EB3BF2D4}"/>
          </ac:spMkLst>
        </pc:spChg>
        <pc:spChg chg="del">
          <ac:chgData name="Thota Veera Venkta" userId="S::tveeravenkta2020@student.hult.edu::821e509d-86d1-4d40-9e04-5d92f065258c" providerId="AD" clId="Web-{882AC582-CDF5-41B0-9210-CB2DEAD20F7C}" dt="2021-11-06T21:39:57.572" v="3"/>
          <ac:spMkLst>
            <pc:docMk/>
            <pc:sldMk cId="1233791222" sldId="11593"/>
            <ac:spMk id="21" creationId="{F88E92F7-E680-4B07-83F5-2B288215E20E}"/>
          </ac:spMkLst>
        </pc:spChg>
        <pc:spChg chg="del">
          <ac:chgData name="Thota Veera Venkta" userId="S::tveeravenkta2020@student.hult.edu::821e509d-86d1-4d40-9e04-5d92f065258c" providerId="AD" clId="Web-{882AC582-CDF5-41B0-9210-CB2DEAD20F7C}" dt="2021-11-06T21:40:03.712" v="10"/>
          <ac:spMkLst>
            <pc:docMk/>
            <pc:sldMk cId="1233791222" sldId="11593"/>
            <ac:spMk id="40" creationId="{EEC1D680-95FA-48A0-8F14-99E486F13948}"/>
          </ac:spMkLst>
        </pc:spChg>
        <pc:spChg chg="del">
          <ac:chgData name="Thota Veera Venkta" userId="S::tveeravenkta2020@student.hult.edu::821e509d-86d1-4d40-9e04-5d92f065258c" providerId="AD" clId="Web-{882AC582-CDF5-41B0-9210-CB2DEAD20F7C}" dt="2021-11-06T21:40:03.712" v="12"/>
          <ac:spMkLst>
            <pc:docMk/>
            <pc:sldMk cId="1233791222" sldId="11593"/>
            <ac:spMk id="41" creationId="{D4A73D8D-E5A0-4F8C-A463-06214AC7A0C6}"/>
          </ac:spMkLst>
        </pc:spChg>
        <pc:spChg chg="del">
          <ac:chgData name="Thota Veera Venkta" userId="S::tveeravenkta2020@student.hult.edu::821e509d-86d1-4d40-9e04-5d92f065258c" providerId="AD" clId="Web-{882AC582-CDF5-41B0-9210-CB2DEAD20F7C}" dt="2021-11-06T21:40:03.712" v="9"/>
          <ac:spMkLst>
            <pc:docMk/>
            <pc:sldMk cId="1233791222" sldId="11593"/>
            <ac:spMk id="42" creationId="{77E88694-CA6B-4AD9-9D77-B14D632AB805}"/>
          </ac:spMkLst>
        </pc:spChg>
        <pc:spChg chg="del">
          <ac:chgData name="Thota Veera Venkta" userId="S::tveeravenkta2020@student.hult.edu::821e509d-86d1-4d40-9e04-5d92f065258c" providerId="AD" clId="Web-{882AC582-CDF5-41B0-9210-CB2DEAD20F7C}" dt="2021-11-06T21:40:03.712" v="8"/>
          <ac:spMkLst>
            <pc:docMk/>
            <pc:sldMk cId="1233791222" sldId="11593"/>
            <ac:spMk id="43" creationId="{2552A48B-702C-49A9-9236-E50F4CD4CC5F}"/>
          </ac:spMkLst>
        </pc:spChg>
        <pc:spChg chg="del">
          <ac:chgData name="Thota Veera Venkta" userId="S::tveeravenkta2020@student.hult.edu::821e509d-86d1-4d40-9e04-5d92f065258c" providerId="AD" clId="Web-{882AC582-CDF5-41B0-9210-CB2DEAD20F7C}" dt="2021-11-06T21:40:03.712" v="11"/>
          <ac:spMkLst>
            <pc:docMk/>
            <pc:sldMk cId="1233791222" sldId="11593"/>
            <ac:spMk id="44" creationId="{172B9D61-214B-4758-ADC4-12E34E5A7EC9}"/>
          </ac:spMkLst>
        </pc:spChg>
        <pc:spChg chg="del">
          <ac:chgData name="Thota Veera Venkta" userId="S::tveeravenkta2020@student.hult.edu::821e509d-86d1-4d40-9e04-5d92f065258c" providerId="AD" clId="Web-{882AC582-CDF5-41B0-9210-CB2DEAD20F7C}" dt="2021-11-06T21:40:03.712" v="7"/>
          <ac:spMkLst>
            <pc:docMk/>
            <pc:sldMk cId="1233791222" sldId="11593"/>
            <ac:spMk id="45" creationId="{C6090449-30B4-409D-BF89-78B9B4C846F2}"/>
          </ac:spMkLst>
        </pc:spChg>
        <pc:spChg chg="del">
          <ac:chgData name="Thota Veera Venkta" userId="S::tveeravenkta2020@student.hult.edu::821e509d-86d1-4d40-9e04-5d92f065258c" providerId="AD" clId="Web-{882AC582-CDF5-41B0-9210-CB2DEAD20F7C}" dt="2021-11-06T21:40:03.697" v="6"/>
          <ac:spMkLst>
            <pc:docMk/>
            <pc:sldMk cId="1233791222" sldId="11593"/>
            <ac:spMk id="46" creationId="{23D3B36D-E232-4E05-9C73-F86AAAE3EBAD}"/>
          </ac:spMkLst>
        </pc:spChg>
        <pc:spChg chg="mod">
          <ac:chgData name="Thota Veera Venkta" userId="S::tveeravenkta2020@student.hult.edu::821e509d-86d1-4d40-9e04-5d92f065258c" providerId="AD" clId="Web-{882AC582-CDF5-41B0-9210-CB2DEAD20F7C}" dt="2021-11-06T21:42:39.716" v="42" actId="20577"/>
          <ac:spMkLst>
            <pc:docMk/>
            <pc:sldMk cId="1233791222" sldId="11593"/>
            <ac:spMk id="63" creationId="{E951A253-998F-4CA2-9006-31F1906FADC9}"/>
          </ac:spMkLst>
        </pc:spChg>
        <pc:spChg chg="mod">
          <ac:chgData name="Thota Veera Venkta" userId="S::tveeravenkta2020@student.hult.edu::821e509d-86d1-4d40-9e04-5d92f065258c" providerId="AD" clId="Web-{882AC582-CDF5-41B0-9210-CB2DEAD20F7C}" dt="2021-11-06T21:41:04.276" v="31"/>
          <ac:spMkLst>
            <pc:docMk/>
            <pc:sldMk cId="1233791222" sldId="11593"/>
            <ac:spMk id="64" creationId="{B14B8F9E-AB22-4878-B38F-C19699A8E53E}"/>
          </ac:spMkLst>
        </pc:spChg>
        <pc:spChg chg="mod">
          <ac:chgData name="Thota Veera Venkta" userId="S::tveeravenkta2020@student.hult.edu::821e509d-86d1-4d40-9e04-5d92f065258c" providerId="AD" clId="Web-{882AC582-CDF5-41B0-9210-CB2DEAD20F7C}" dt="2021-11-06T21:42:02.262" v="32" actId="20577"/>
          <ac:spMkLst>
            <pc:docMk/>
            <pc:sldMk cId="1233791222" sldId="11593"/>
            <ac:spMk id="65" creationId="{A0B58970-B4EA-4800-8A11-D04F14F78602}"/>
          </ac:spMkLst>
        </pc:spChg>
        <pc:spChg chg="mod">
          <ac:chgData name="Thota Veera Venkta" userId="S::tveeravenkta2020@student.hult.edu::821e509d-86d1-4d40-9e04-5d92f065258c" providerId="AD" clId="Web-{882AC582-CDF5-41B0-9210-CB2DEAD20F7C}" dt="2021-11-06T21:42:06.950" v="33" actId="20577"/>
          <ac:spMkLst>
            <pc:docMk/>
            <pc:sldMk cId="1233791222" sldId="11593"/>
            <ac:spMk id="66" creationId="{EF41A102-9666-4594-A9BC-7A8BB5BB7AD7}"/>
          </ac:spMkLst>
        </pc:spChg>
        <pc:spChg chg="del">
          <ac:chgData name="Thota Veera Venkta" userId="S::tveeravenkta2020@student.hult.edu::821e509d-86d1-4d40-9e04-5d92f065258c" providerId="AD" clId="Web-{882AC582-CDF5-41B0-9210-CB2DEAD20F7C}" dt="2021-11-06T21:40:10.650" v="15"/>
          <ac:spMkLst>
            <pc:docMk/>
            <pc:sldMk cId="1233791222" sldId="11593"/>
            <ac:spMk id="115" creationId="{47FF5ACE-3A96-4D36-ACD4-A13B31E90C1D}"/>
          </ac:spMkLst>
        </pc:spChg>
        <pc:spChg chg="del">
          <ac:chgData name="Thota Veera Venkta" userId="S::tveeravenkta2020@student.hult.edu::821e509d-86d1-4d40-9e04-5d92f065258c" providerId="AD" clId="Web-{882AC582-CDF5-41B0-9210-CB2DEAD20F7C}" dt="2021-11-06T21:40:10.650" v="14"/>
          <ac:spMkLst>
            <pc:docMk/>
            <pc:sldMk cId="1233791222" sldId="11593"/>
            <ac:spMk id="116" creationId="{E30129D7-8359-4EC7-9F6F-A2C2872EA9FC}"/>
          </ac:spMkLst>
        </pc:spChg>
        <pc:spChg chg="del">
          <ac:chgData name="Thota Veera Venkta" userId="S::tveeravenkta2020@student.hult.edu::821e509d-86d1-4d40-9e04-5d92f065258c" providerId="AD" clId="Web-{882AC582-CDF5-41B0-9210-CB2DEAD20F7C}" dt="2021-11-06T21:40:10.650" v="13"/>
          <ac:spMkLst>
            <pc:docMk/>
            <pc:sldMk cId="1233791222" sldId="11593"/>
            <ac:spMk id="117" creationId="{A29C94A2-384F-43CD-9B0A-2D19216D199C}"/>
          </ac:spMkLst>
        </pc:spChg>
        <pc:spChg chg="del">
          <ac:chgData name="Thota Veera Venkta" userId="S::tveeravenkta2020@student.hult.edu::821e509d-86d1-4d40-9e04-5d92f065258c" providerId="AD" clId="Web-{882AC582-CDF5-41B0-9210-CB2DEAD20F7C}" dt="2021-11-06T21:40:10.650" v="19"/>
          <ac:spMkLst>
            <pc:docMk/>
            <pc:sldMk cId="1233791222" sldId="11593"/>
            <ac:spMk id="305" creationId="{B32DEC60-1F27-7942-A8C8-F149E13B32C3}"/>
          </ac:spMkLst>
        </pc:spChg>
        <pc:spChg chg="del">
          <ac:chgData name="Thota Veera Venkta" userId="S::tveeravenkta2020@student.hult.edu::821e509d-86d1-4d40-9e04-5d92f065258c" providerId="AD" clId="Web-{882AC582-CDF5-41B0-9210-CB2DEAD20F7C}" dt="2021-11-06T21:40:10.650" v="18"/>
          <ac:spMkLst>
            <pc:docMk/>
            <pc:sldMk cId="1233791222" sldId="11593"/>
            <ac:spMk id="307" creationId="{B32DEC60-1F27-7942-A8C8-F149E13B32C3}"/>
          </ac:spMkLst>
        </pc:spChg>
        <pc:spChg chg="del">
          <ac:chgData name="Thota Veera Venkta" userId="S::tveeravenkta2020@student.hult.edu::821e509d-86d1-4d40-9e04-5d92f065258c" providerId="AD" clId="Web-{882AC582-CDF5-41B0-9210-CB2DEAD20F7C}" dt="2021-11-06T21:40:10.650" v="17"/>
          <ac:spMkLst>
            <pc:docMk/>
            <pc:sldMk cId="1233791222" sldId="11593"/>
            <ac:spMk id="385" creationId="{88406B0D-8045-485A-8D38-AF3833F676EB}"/>
          </ac:spMkLst>
        </pc:spChg>
        <pc:picChg chg="mod">
          <ac:chgData name="Thota Veera Venkta" userId="S::tveeravenkta2020@student.hult.edu::821e509d-86d1-4d40-9e04-5d92f065258c" providerId="AD" clId="Web-{882AC582-CDF5-41B0-9210-CB2DEAD20F7C}" dt="2021-11-06T21:40:17.916" v="22" actId="1076"/>
          <ac:picMkLst>
            <pc:docMk/>
            <pc:sldMk cId="1233791222" sldId="11593"/>
            <ac:picMk id="7" creationId="{4B881906-B6B3-47F2-9664-98E63EA6D84F}"/>
          </ac:picMkLst>
        </pc:picChg>
      </pc:sldChg>
    </pc:docChg>
  </pc:docChgLst>
  <pc:docChgLst>
    <pc:chgData name="Timothy Naman" userId="S::tnaman2020@student.hult.edu::e268f113-7080-4d3e-ab45-ec90a848a5ef" providerId="AD" clId="Web-{21651EF3-FA3D-4876-B750-1E9A527258DC}"/>
    <pc:docChg chg="modSld">
      <pc:chgData name="Timothy Naman" userId="S::tnaman2020@student.hult.edu::e268f113-7080-4d3e-ab45-ec90a848a5ef" providerId="AD" clId="Web-{21651EF3-FA3D-4876-B750-1E9A527258DC}" dt="2021-11-08T06:11:16.228" v="1106" actId="20577"/>
      <pc:docMkLst>
        <pc:docMk/>
      </pc:docMkLst>
      <pc:sldChg chg="addSp delSp modSp">
        <pc:chgData name="Timothy Naman" userId="S::tnaman2020@student.hult.edu::e268f113-7080-4d3e-ab45-ec90a848a5ef" providerId="AD" clId="Web-{21651EF3-FA3D-4876-B750-1E9A527258DC}" dt="2021-11-08T06:11:16.228" v="1106" actId="20577"/>
        <pc:sldMkLst>
          <pc:docMk/>
          <pc:sldMk cId="2727697734" sldId="11447"/>
        </pc:sldMkLst>
        <pc:spChg chg="mod">
          <ac:chgData name="Timothy Naman" userId="S::tnaman2020@student.hult.edu::e268f113-7080-4d3e-ab45-ec90a848a5ef" providerId="AD" clId="Web-{21651EF3-FA3D-4876-B750-1E9A527258DC}" dt="2021-11-08T06:11:16.228" v="1106" actId="20577"/>
          <ac:spMkLst>
            <pc:docMk/>
            <pc:sldMk cId="2727697734" sldId="11447"/>
            <ac:spMk id="26" creationId="{C1CC0F0A-5BAD-4977-9475-0EBE15232AE9}"/>
          </ac:spMkLst>
        </pc:spChg>
        <pc:spChg chg="mod">
          <ac:chgData name="Timothy Naman" userId="S::tnaman2020@student.hult.edu::e268f113-7080-4d3e-ab45-ec90a848a5ef" providerId="AD" clId="Web-{21651EF3-FA3D-4876-B750-1E9A527258DC}" dt="2021-11-08T06:11:07.806" v="1105" actId="1076"/>
          <ac:spMkLst>
            <pc:docMk/>
            <pc:sldMk cId="2727697734" sldId="11447"/>
            <ac:spMk id="28" creationId="{DD3ABB13-70DB-447E-B24B-98F0899EAE3E}"/>
          </ac:spMkLst>
        </pc:spChg>
        <pc:spChg chg="mod">
          <ac:chgData name="Timothy Naman" userId="S::tnaman2020@student.hult.edu::e268f113-7080-4d3e-ab45-ec90a848a5ef" providerId="AD" clId="Web-{21651EF3-FA3D-4876-B750-1E9A527258DC}" dt="2021-11-08T03:16:50.490" v="245" actId="20577"/>
          <ac:spMkLst>
            <pc:docMk/>
            <pc:sldMk cId="2727697734" sldId="11447"/>
            <ac:spMk id="115" creationId="{5C97DFB9-67DA-41F9-9F89-483D41D1C2FE}"/>
          </ac:spMkLst>
        </pc:spChg>
        <pc:spChg chg="mod">
          <ac:chgData name="Timothy Naman" userId="S::tnaman2020@student.hult.edu::e268f113-7080-4d3e-ab45-ec90a848a5ef" providerId="AD" clId="Web-{21651EF3-FA3D-4876-B750-1E9A527258DC}" dt="2021-11-08T03:48:33.476" v="1098" actId="20577"/>
          <ac:spMkLst>
            <pc:docMk/>
            <pc:sldMk cId="2727697734" sldId="11447"/>
            <ac:spMk id="116" creationId="{E269F599-F015-4DC8-86E4-0F1FEA3B1BE3}"/>
          </ac:spMkLst>
        </pc:spChg>
        <pc:spChg chg="add del mod">
          <ac:chgData name="Timothy Naman" userId="S::tnaman2020@student.hult.edu::e268f113-7080-4d3e-ab45-ec90a848a5ef" providerId="AD" clId="Web-{21651EF3-FA3D-4876-B750-1E9A527258DC}" dt="2021-11-08T04:09:28.390" v="1104" actId="20577"/>
          <ac:spMkLst>
            <pc:docMk/>
            <pc:sldMk cId="2727697734" sldId="11447"/>
            <ac:spMk id="117" creationId="{DA0A211C-53D6-41CD-ADFE-87F5006DD305}"/>
          </ac:spMkLst>
        </pc:spChg>
      </pc:sldChg>
      <pc:sldChg chg="modSp">
        <pc:chgData name="Timothy Naman" userId="S::tnaman2020@student.hult.edu::e268f113-7080-4d3e-ab45-ec90a848a5ef" providerId="AD" clId="Web-{21651EF3-FA3D-4876-B750-1E9A527258DC}" dt="2021-11-08T03:16:13.957" v="242" actId="20577"/>
        <pc:sldMkLst>
          <pc:docMk/>
          <pc:sldMk cId="3969723462" sldId="11595"/>
        </pc:sldMkLst>
        <pc:spChg chg="mod">
          <ac:chgData name="Timothy Naman" userId="S::tnaman2020@student.hult.edu::e268f113-7080-4d3e-ab45-ec90a848a5ef" providerId="AD" clId="Web-{21651EF3-FA3D-4876-B750-1E9A527258DC}" dt="2021-11-08T03:15:43.472" v="222" actId="20577"/>
          <ac:spMkLst>
            <pc:docMk/>
            <pc:sldMk cId="3969723462" sldId="11595"/>
            <ac:spMk id="50" creationId="{77F22D06-9156-4EFD-835C-D0696DF006BD}"/>
          </ac:spMkLst>
        </pc:spChg>
        <pc:spChg chg="mod">
          <ac:chgData name="Timothy Naman" userId="S::tnaman2020@student.hult.edu::e268f113-7080-4d3e-ab45-ec90a848a5ef" providerId="AD" clId="Web-{21651EF3-FA3D-4876-B750-1E9A527258DC}" dt="2021-11-08T03:16:13.957" v="242" actId="20577"/>
          <ac:spMkLst>
            <pc:docMk/>
            <pc:sldMk cId="3969723462" sldId="11595"/>
            <ac:spMk id="55" creationId="{F744FB79-80A5-4FFE-912E-197C96F94A04}"/>
          </ac:spMkLst>
        </pc:spChg>
      </pc:sldChg>
    </pc:docChg>
  </pc:docChgLst>
  <pc:docChgLst>
    <pc:chgData name="Takahito Komori" userId="7fd2de49-45b2-4181-a5c4-7be443c8d43b" providerId="ADAL" clId="{55CB8D28-517D-40CF-BF20-F64D97DF00EA}"/>
    <pc:docChg chg="custSel modSld replTag">
      <pc:chgData name="Takahito Komori" userId="7fd2de49-45b2-4181-a5c4-7be443c8d43b" providerId="ADAL" clId="{55CB8D28-517D-40CF-BF20-F64D97DF00EA}" dt="2021-11-06T20:06:01.621" v="51" actId="20577"/>
      <pc:docMkLst>
        <pc:docMk/>
      </pc:docMkLst>
      <pc:sldChg chg="modSp mod">
        <pc:chgData name="Takahito Komori" userId="7fd2de49-45b2-4181-a5c4-7be443c8d43b" providerId="ADAL" clId="{55CB8D28-517D-40CF-BF20-F64D97DF00EA}" dt="2021-11-06T20:05:39.367" v="43"/>
        <pc:sldMkLst>
          <pc:docMk/>
          <pc:sldMk cId="2651786787" sldId="3081"/>
        </pc:sldMkLst>
        <pc:spChg chg="mod">
          <ac:chgData name="Takahito Komori" userId="7fd2de49-45b2-4181-a5c4-7be443c8d43b" providerId="ADAL" clId="{55CB8D28-517D-40CF-BF20-F64D97DF00EA}" dt="2021-11-06T20:05:39.315" v="40" actId="948"/>
          <ac:spMkLst>
            <pc:docMk/>
            <pc:sldMk cId="2651786787" sldId="3081"/>
            <ac:spMk id="2" creationId="{4BD7C075-4BCD-4C18-9857-16948C589A18}"/>
          </ac:spMkLst>
        </pc:spChg>
        <pc:graphicFrameChg chg="mod">
          <ac:chgData name="Takahito Komori" userId="7fd2de49-45b2-4181-a5c4-7be443c8d43b" providerId="ADAL" clId="{55CB8D28-517D-40CF-BF20-F64D97DF00EA}" dt="2021-11-06T20:05:39.367" v="43"/>
          <ac:graphicFrameMkLst>
            <pc:docMk/>
            <pc:sldMk cId="2651786787" sldId="3081"/>
            <ac:graphicFrameMk id="28" creationId="{B36CBB83-C66F-46FB-9298-BE9A41FFAFB7}"/>
          </ac:graphicFrameMkLst>
        </pc:graphicFrameChg>
      </pc:sldChg>
      <pc:sldChg chg="delSp mod">
        <pc:chgData name="Takahito Komori" userId="7fd2de49-45b2-4181-a5c4-7be443c8d43b" providerId="ADAL" clId="{55CB8D28-517D-40CF-BF20-F64D97DF00EA}" dt="2021-11-06T20:05:22.775" v="0" actId="478"/>
        <pc:sldMkLst>
          <pc:docMk/>
          <pc:sldMk cId="3421814768" sldId="11180"/>
        </pc:sldMkLst>
        <pc:spChg chg="del">
          <ac:chgData name="Takahito Komori" userId="7fd2de49-45b2-4181-a5c4-7be443c8d43b" providerId="ADAL" clId="{55CB8D28-517D-40CF-BF20-F64D97DF00EA}" dt="2021-11-06T20:05:22.775" v="0" actId="478"/>
          <ac:spMkLst>
            <pc:docMk/>
            <pc:sldMk cId="3421814768" sldId="11180"/>
            <ac:spMk id="40" creationId="{AA858C1D-C3D4-4110-A7C1-521993DFE89C}"/>
          </ac:spMkLst>
        </pc:spChg>
      </pc:sldChg>
      <pc:sldChg chg="modSp mod">
        <pc:chgData name="Takahito Komori" userId="7fd2de49-45b2-4181-a5c4-7be443c8d43b" providerId="ADAL" clId="{55CB8D28-517D-40CF-BF20-F64D97DF00EA}" dt="2021-11-06T20:06:01.621" v="51" actId="20577"/>
        <pc:sldMkLst>
          <pc:docMk/>
          <pc:sldMk cId="720737956" sldId="11425"/>
        </pc:sldMkLst>
        <pc:spChg chg="mod">
          <ac:chgData name="Takahito Komori" userId="7fd2de49-45b2-4181-a5c4-7be443c8d43b" providerId="ADAL" clId="{55CB8D28-517D-40CF-BF20-F64D97DF00EA}" dt="2021-11-06T20:06:01.621" v="51" actId="20577"/>
          <ac:spMkLst>
            <pc:docMk/>
            <pc:sldMk cId="720737956" sldId="11425"/>
            <ac:spMk id="4" creationId="{4B192654-860C-4BAC-A7C9-47FBBD996C14}"/>
          </ac:spMkLst>
        </pc:spChg>
      </pc:sldChg>
      <pc:sldChg chg="modSp mod">
        <pc:chgData name="Takahito Komori" userId="7fd2de49-45b2-4181-a5c4-7be443c8d43b" providerId="ADAL" clId="{55CB8D28-517D-40CF-BF20-F64D97DF00EA}" dt="2021-11-06T20:05:32.396" v="30"/>
        <pc:sldMkLst>
          <pc:docMk/>
          <pc:sldMk cId="3814912581" sldId="11588"/>
        </pc:sldMkLst>
        <pc:spChg chg="mod">
          <ac:chgData name="Takahito Komori" userId="7fd2de49-45b2-4181-a5c4-7be443c8d43b" providerId="ADAL" clId="{55CB8D28-517D-40CF-BF20-F64D97DF00EA}" dt="2021-11-06T20:05:32.382" v="27" actId="948"/>
          <ac:spMkLst>
            <pc:docMk/>
            <pc:sldMk cId="3814912581" sldId="11588"/>
            <ac:spMk id="3" creationId="{9F09518B-041E-4096-8711-DB9BBC2C4069}"/>
          </ac:spMkLst>
        </pc:spChg>
        <pc:graphicFrameChg chg="mod">
          <ac:chgData name="Takahito Komori" userId="7fd2de49-45b2-4181-a5c4-7be443c8d43b" providerId="ADAL" clId="{55CB8D28-517D-40CF-BF20-F64D97DF00EA}" dt="2021-11-06T20:05:32.396" v="30"/>
          <ac:graphicFrameMkLst>
            <pc:docMk/>
            <pc:sldMk cId="3814912581" sldId="11588"/>
            <ac:graphicFrameMk id="7" creationId="{D557AA00-E94A-40DF-9F5F-D947486936B6}"/>
          </ac:graphicFrameMkLst>
        </pc:graphicFrameChg>
      </pc:sldChg>
    </pc:docChg>
  </pc:docChgLst>
  <pc:docChgLst>
    <pc:chgData name="Tri Dung Dinh" userId="238ad430-8865-4a7b-8af3-d7b200247747" providerId="ADAL" clId="{7B7B1A15-4369-B94D-A8E2-98E7C35E64AF}"/>
    <pc:docChg chg="custSel addSld modSld">
      <pc:chgData name="Tri Dung Dinh" userId="238ad430-8865-4a7b-8af3-d7b200247747" providerId="ADAL" clId="{7B7B1A15-4369-B94D-A8E2-98E7C35E64AF}" dt="2021-11-06T22:31:38.286" v="22" actId="962"/>
      <pc:docMkLst>
        <pc:docMk/>
      </pc:docMkLst>
      <pc:sldChg chg="addSp delSp modSp mod">
        <pc:chgData name="Tri Dung Dinh" userId="238ad430-8865-4a7b-8af3-d7b200247747" providerId="ADAL" clId="{7B7B1A15-4369-B94D-A8E2-98E7C35E64AF}" dt="2021-11-06T22:15:16.248" v="10" actId="962"/>
        <pc:sldMkLst>
          <pc:docMk/>
          <pc:sldMk cId="2954875576" sldId="281"/>
        </pc:sldMkLst>
        <pc:picChg chg="add mod">
          <ac:chgData name="Tri Dung Dinh" userId="238ad430-8865-4a7b-8af3-d7b200247747" providerId="ADAL" clId="{7B7B1A15-4369-B94D-A8E2-98E7C35E64AF}" dt="2021-11-06T21:56:34.593" v="3" actId="962"/>
          <ac:picMkLst>
            <pc:docMk/>
            <pc:sldMk cId="2954875576" sldId="281"/>
            <ac:picMk id="5" creationId="{2AB61703-AC68-6D4D-A3EC-B54EA40D6B78}"/>
          </ac:picMkLst>
        </pc:picChg>
        <pc:picChg chg="add del mod">
          <ac:chgData name="Tri Dung Dinh" userId="238ad430-8865-4a7b-8af3-d7b200247747" providerId="ADAL" clId="{7B7B1A15-4369-B94D-A8E2-98E7C35E64AF}" dt="2021-11-06T22:15:09.073" v="7" actId="478"/>
          <ac:picMkLst>
            <pc:docMk/>
            <pc:sldMk cId="2954875576" sldId="281"/>
            <ac:picMk id="13" creationId="{2F4EE37F-E867-D54F-880B-6B540C2DC3A0}"/>
          </ac:picMkLst>
        </pc:picChg>
        <pc:picChg chg="add mod">
          <ac:chgData name="Tri Dung Dinh" userId="238ad430-8865-4a7b-8af3-d7b200247747" providerId="ADAL" clId="{7B7B1A15-4369-B94D-A8E2-98E7C35E64AF}" dt="2021-11-06T22:15:16.248" v="10" actId="962"/>
          <ac:picMkLst>
            <pc:docMk/>
            <pc:sldMk cId="2954875576" sldId="281"/>
            <ac:picMk id="15" creationId="{29C53EFC-1719-BE44-ACFF-B744978C1480}"/>
          </ac:picMkLst>
        </pc:picChg>
        <pc:picChg chg="del">
          <ac:chgData name="Tri Dung Dinh" userId="238ad430-8865-4a7b-8af3-d7b200247747" providerId="ADAL" clId="{7B7B1A15-4369-B94D-A8E2-98E7C35E64AF}" dt="2021-11-06T21:56:26.451" v="0" actId="478"/>
          <ac:picMkLst>
            <pc:docMk/>
            <pc:sldMk cId="2954875576" sldId="281"/>
            <ac:picMk id="48" creationId="{1319322F-03E3-4FE3-9916-F26475B9BA96}"/>
          </ac:picMkLst>
        </pc:picChg>
      </pc:sldChg>
      <pc:sldChg chg="addSp modSp new mod">
        <pc:chgData name="Tri Dung Dinh" userId="238ad430-8865-4a7b-8af3-d7b200247747" providerId="ADAL" clId="{7B7B1A15-4369-B94D-A8E2-98E7C35E64AF}" dt="2021-11-06T22:31:38.286" v="22" actId="962"/>
        <pc:sldMkLst>
          <pc:docMk/>
          <pc:sldMk cId="113512627" sldId="11594"/>
        </pc:sldMkLst>
        <pc:picChg chg="add mod">
          <ac:chgData name="Tri Dung Dinh" userId="238ad430-8865-4a7b-8af3-d7b200247747" providerId="ADAL" clId="{7B7B1A15-4369-B94D-A8E2-98E7C35E64AF}" dt="2021-11-06T22:20:00.437" v="14" actId="962"/>
          <ac:picMkLst>
            <pc:docMk/>
            <pc:sldMk cId="113512627" sldId="11594"/>
            <ac:picMk id="5" creationId="{8F2DC7CE-A6C3-C249-A1B9-71765C1984A1}"/>
          </ac:picMkLst>
        </pc:picChg>
        <pc:picChg chg="add mod">
          <ac:chgData name="Tri Dung Dinh" userId="238ad430-8865-4a7b-8af3-d7b200247747" providerId="ADAL" clId="{7B7B1A15-4369-B94D-A8E2-98E7C35E64AF}" dt="2021-11-06T22:31:38.286" v="22" actId="962"/>
          <ac:picMkLst>
            <pc:docMk/>
            <pc:sldMk cId="113512627" sldId="11594"/>
            <ac:picMk id="8" creationId="{1939A8F3-642C-4647-8558-AC04FA2E1843}"/>
          </ac:picMkLst>
        </pc:picChg>
      </pc:sldChg>
      <pc:sldChg chg="addSp modSp new mod">
        <pc:chgData name="Tri Dung Dinh" userId="238ad430-8865-4a7b-8af3-d7b200247747" providerId="ADAL" clId="{7B7B1A15-4369-B94D-A8E2-98E7C35E64AF}" dt="2021-11-06T22:29:50.346" v="18" actId="962"/>
        <pc:sldMkLst>
          <pc:docMk/>
          <pc:sldMk cId="2831323136" sldId="11596"/>
        </pc:sldMkLst>
        <pc:picChg chg="add mod">
          <ac:chgData name="Tri Dung Dinh" userId="238ad430-8865-4a7b-8af3-d7b200247747" providerId="ADAL" clId="{7B7B1A15-4369-B94D-A8E2-98E7C35E64AF}" dt="2021-11-06T22:29:50.346" v="18" actId="962"/>
          <ac:picMkLst>
            <pc:docMk/>
            <pc:sldMk cId="2831323136" sldId="11596"/>
            <ac:picMk id="5" creationId="{788B08C9-F3BF-634A-9048-A3FE398EBE32}"/>
          </ac:picMkLst>
        </pc:picChg>
      </pc:sldChg>
    </pc:docChg>
  </pc:docChgLst>
  <pc:docChgLst>
    <pc:chgData name="Timothy Naman" userId="S::tnaman2020@student.hult.edu::e268f113-7080-4d3e-ab45-ec90a848a5ef" providerId="AD" clId="Web-{4B89F301-2C64-4D6B-8296-D4514FFABB0F}"/>
    <pc:docChg chg="addSld">
      <pc:chgData name="Timothy Naman" userId="S::tnaman2020@student.hult.edu::e268f113-7080-4d3e-ab45-ec90a848a5ef" providerId="AD" clId="Web-{4B89F301-2C64-4D6B-8296-D4514FFABB0F}" dt="2021-11-07T20:27:10.868" v="0"/>
      <pc:docMkLst>
        <pc:docMk/>
      </pc:docMkLst>
      <pc:sldChg chg="new">
        <pc:chgData name="Timothy Naman" userId="S::tnaman2020@student.hult.edu::e268f113-7080-4d3e-ab45-ec90a848a5ef" providerId="AD" clId="Web-{4B89F301-2C64-4D6B-8296-D4514FFABB0F}" dt="2021-11-07T20:27:10.868" v="0"/>
        <pc:sldMkLst>
          <pc:docMk/>
          <pc:sldMk cId="3976684779" sldId="11596"/>
        </pc:sldMkLst>
      </pc:sldChg>
    </pc:docChg>
  </pc:docChgLst>
  <pc:docChgLst>
    <pc:chgData name="Tri Dung Dinh" userId="S::tdinh2020@student.hult.edu::238ad430-8865-4a7b-8af3-d7b200247747" providerId="AD" clId="Web-{F9B2F439-69B6-4C1B-B9CE-B60AE478091E}"/>
    <pc:docChg chg="modSld">
      <pc:chgData name="Tri Dung Dinh" userId="S::tdinh2020@student.hult.edu::238ad430-8865-4a7b-8af3-d7b200247747" providerId="AD" clId="Web-{F9B2F439-69B6-4C1B-B9CE-B60AE478091E}" dt="2021-11-07T21:09:17.218" v="1" actId="20577"/>
      <pc:docMkLst>
        <pc:docMk/>
      </pc:docMkLst>
      <pc:sldChg chg="modSp">
        <pc:chgData name="Tri Dung Dinh" userId="S::tdinh2020@student.hult.edu::238ad430-8865-4a7b-8af3-d7b200247747" providerId="AD" clId="Web-{F9B2F439-69B6-4C1B-B9CE-B60AE478091E}" dt="2021-11-07T21:09:17.218" v="1" actId="20577"/>
        <pc:sldMkLst>
          <pc:docMk/>
          <pc:sldMk cId="3067822336" sldId="11589"/>
        </pc:sldMkLst>
        <pc:spChg chg="mod">
          <ac:chgData name="Tri Dung Dinh" userId="S::tdinh2020@student.hult.edu::238ad430-8865-4a7b-8af3-d7b200247747" providerId="AD" clId="Web-{F9B2F439-69B6-4C1B-B9CE-B60AE478091E}" dt="2021-11-07T21:09:17.218" v="1" actId="20577"/>
          <ac:spMkLst>
            <pc:docMk/>
            <pc:sldMk cId="3067822336" sldId="11589"/>
            <ac:spMk id="5" creationId="{DED771ED-0774-49A8-A234-F3DE9FDD91E6}"/>
          </ac:spMkLst>
        </pc:spChg>
      </pc:sldChg>
    </pc:docChg>
  </pc:docChgLst>
  <pc:docChgLst>
    <pc:chgData name="Thota Veera Venkta" userId="S::tveeravenkta2020@student.hult.edu::821e509d-86d1-4d40-9e04-5d92f065258c" providerId="AD" clId="Web-{4F23E1B0-48AA-4D41-A878-2359AAB75D8B}"/>
    <pc:docChg chg="modSld sldOrd">
      <pc:chgData name="Thota Veera Venkta" userId="S::tveeravenkta2020@student.hult.edu::821e509d-86d1-4d40-9e04-5d92f065258c" providerId="AD" clId="Web-{4F23E1B0-48AA-4D41-A878-2359AAB75D8B}" dt="2021-11-07T22:55:03.937" v="430"/>
      <pc:docMkLst>
        <pc:docMk/>
      </pc:docMkLst>
      <pc:sldChg chg="addSp delSp modSp">
        <pc:chgData name="Thota Veera Venkta" userId="S::tveeravenkta2020@student.hult.edu::821e509d-86d1-4d40-9e04-5d92f065258c" providerId="AD" clId="Web-{4F23E1B0-48AA-4D41-A878-2359AAB75D8B}" dt="2021-11-07T22:55:03.937" v="430"/>
        <pc:sldMkLst>
          <pc:docMk/>
          <pc:sldMk cId="1233791222" sldId="11593"/>
        </pc:sldMkLst>
        <pc:spChg chg="mod">
          <ac:chgData name="Thota Veera Venkta" userId="S::tveeravenkta2020@student.hult.edu::821e509d-86d1-4d40-9e04-5d92f065258c" providerId="AD" clId="Web-{4F23E1B0-48AA-4D41-A878-2359AAB75D8B}" dt="2021-11-07T22:01:41.822" v="415" actId="20577"/>
          <ac:spMkLst>
            <pc:docMk/>
            <pc:sldMk cId="1233791222" sldId="11593"/>
            <ac:spMk id="2" creationId="{4BD7C075-4BCD-4C18-9857-16948C589A18}"/>
          </ac:spMkLst>
        </pc:spChg>
        <pc:spChg chg="mod">
          <ac:chgData name="Thota Veera Venkta" userId="S::tveeravenkta2020@student.hult.edu::821e509d-86d1-4d40-9e04-5d92f065258c" providerId="AD" clId="Web-{4F23E1B0-48AA-4D41-A878-2359AAB75D8B}" dt="2021-11-07T22:54:57.218" v="428" actId="20577"/>
          <ac:spMkLst>
            <pc:docMk/>
            <pc:sldMk cId="1233791222" sldId="11593"/>
            <ac:spMk id="4" creationId="{E6D634C7-C05C-451A-A8D9-AEAE38D7648E}"/>
          </ac:spMkLst>
        </pc:spChg>
        <pc:spChg chg="mod">
          <ac:chgData name="Thota Veera Venkta" userId="S::tveeravenkta2020@student.hult.edu::821e509d-86d1-4d40-9e04-5d92f065258c" providerId="AD" clId="Web-{4F23E1B0-48AA-4D41-A878-2359AAB75D8B}" dt="2021-11-07T22:55:03.937" v="430"/>
          <ac:spMkLst>
            <pc:docMk/>
            <pc:sldMk cId="1233791222" sldId="11593"/>
            <ac:spMk id="6" creationId="{8F81AF75-A47D-4A73-8306-B90DF07D1C19}"/>
          </ac:spMkLst>
        </pc:spChg>
        <pc:spChg chg="mod">
          <ac:chgData name="Thota Veera Venkta" userId="S::tveeravenkta2020@student.hult.edu::821e509d-86d1-4d40-9e04-5d92f065258c" providerId="AD" clId="Web-{4F23E1B0-48AA-4D41-A878-2359AAB75D8B}" dt="2021-11-07T21:14:32.133" v="254" actId="20577"/>
          <ac:spMkLst>
            <pc:docMk/>
            <pc:sldMk cId="1233791222" sldId="11593"/>
            <ac:spMk id="63" creationId="{E951A253-998F-4CA2-9006-31F1906FADC9}"/>
          </ac:spMkLst>
        </pc:spChg>
        <pc:spChg chg="mod">
          <ac:chgData name="Thota Veera Venkta" userId="S::tveeravenkta2020@student.hult.edu::821e509d-86d1-4d40-9e04-5d92f065258c" providerId="AD" clId="Web-{4F23E1B0-48AA-4D41-A878-2359AAB75D8B}" dt="2021-11-07T21:14:51.884" v="269" actId="20577"/>
          <ac:spMkLst>
            <pc:docMk/>
            <pc:sldMk cId="1233791222" sldId="11593"/>
            <ac:spMk id="64" creationId="{B14B8F9E-AB22-4878-B38F-C19699A8E53E}"/>
          </ac:spMkLst>
        </pc:spChg>
        <pc:spChg chg="mod">
          <ac:chgData name="Thota Veera Venkta" userId="S::tveeravenkta2020@student.hult.edu::821e509d-86d1-4d40-9e04-5d92f065258c" providerId="AD" clId="Web-{4F23E1B0-48AA-4D41-A878-2359AAB75D8B}" dt="2021-11-07T21:17:32.813" v="388" actId="20577"/>
          <ac:spMkLst>
            <pc:docMk/>
            <pc:sldMk cId="1233791222" sldId="11593"/>
            <ac:spMk id="65" creationId="{A0B58970-B4EA-4800-8A11-D04F14F78602}"/>
          </ac:spMkLst>
        </pc:spChg>
        <pc:spChg chg="del">
          <ac:chgData name="Thota Veera Venkta" userId="S::tveeravenkta2020@student.hult.edu::821e509d-86d1-4d40-9e04-5d92f065258c" providerId="AD" clId="Web-{4F23E1B0-48AA-4D41-A878-2359AAB75D8B}" dt="2021-11-07T21:16:24.500" v="309"/>
          <ac:spMkLst>
            <pc:docMk/>
            <pc:sldMk cId="1233791222" sldId="11593"/>
            <ac:spMk id="66" creationId="{EF41A102-9666-4594-A9BC-7A8BB5BB7AD7}"/>
          </ac:spMkLst>
        </pc:spChg>
        <pc:picChg chg="add del mod">
          <ac:chgData name="Thota Veera Venkta" userId="S::tveeravenkta2020@student.hult.edu::821e509d-86d1-4d40-9e04-5d92f065258c" providerId="AD" clId="Web-{4F23E1B0-48AA-4D41-A878-2359AAB75D8B}" dt="2021-11-07T21:13:34.804" v="189"/>
          <ac:picMkLst>
            <pc:docMk/>
            <pc:sldMk cId="1233791222" sldId="11593"/>
            <ac:picMk id="5" creationId="{011E9C17-4604-4F34-8BAA-95B587DE5A4A}"/>
          </ac:picMkLst>
        </pc:picChg>
        <pc:picChg chg="del">
          <ac:chgData name="Thota Veera Venkta" userId="S::tveeravenkta2020@student.hult.edu::821e509d-86d1-4d40-9e04-5d92f065258c" providerId="AD" clId="Web-{4F23E1B0-48AA-4D41-A878-2359AAB75D8B}" dt="2021-11-07T21:10:19.444" v="128"/>
          <ac:picMkLst>
            <pc:docMk/>
            <pc:sldMk cId="1233791222" sldId="11593"/>
            <ac:picMk id="7" creationId="{4B881906-B6B3-47F2-9664-98E63EA6D84F}"/>
          </ac:picMkLst>
        </pc:picChg>
        <pc:picChg chg="add del mod">
          <ac:chgData name="Thota Veera Venkta" userId="S::tveeravenkta2020@student.hult.edu::821e509d-86d1-4d40-9e04-5d92f065258c" providerId="AD" clId="Web-{4F23E1B0-48AA-4D41-A878-2359AAB75D8B}" dt="2021-11-07T21:15:23.009" v="271"/>
          <ac:picMkLst>
            <pc:docMk/>
            <pc:sldMk cId="1233791222" sldId="11593"/>
            <ac:picMk id="8" creationId="{DBD424E8-7608-4EAC-9CA3-203E75B95C9D}"/>
          </ac:picMkLst>
        </pc:picChg>
        <pc:picChg chg="add mod">
          <ac:chgData name="Thota Veera Venkta" userId="S::tveeravenkta2020@student.hult.edu::821e509d-86d1-4d40-9e04-5d92f065258c" providerId="AD" clId="Web-{4F23E1B0-48AA-4D41-A878-2359AAB75D8B}" dt="2021-11-07T21:15:36.905" v="277" actId="14100"/>
          <ac:picMkLst>
            <pc:docMk/>
            <pc:sldMk cId="1233791222" sldId="11593"/>
            <ac:picMk id="9" creationId="{E89A3B33-A4DD-4AD0-B93C-102630E88A1E}"/>
          </ac:picMkLst>
        </pc:picChg>
      </pc:sldChg>
      <pc:sldChg chg="modSp">
        <pc:chgData name="Thota Veera Venkta" userId="S::tveeravenkta2020@student.hult.edu::821e509d-86d1-4d40-9e04-5d92f065258c" providerId="AD" clId="Web-{4F23E1B0-48AA-4D41-A878-2359AAB75D8B}" dt="2021-11-07T20:35:23.671" v="127" actId="20577"/>
        <pc:sldMkLst>
          <pc:docMk/>
          <pc:sldMk cId="3969723462" sldId="11595"/>
        </pc:sldMkLst>
        <pc:spChg chg="mod">
          <ac:chgData name="Thota Veera Venkta" userId="S::tveeravenkta2020@student.hult.edu::821e509d-86d1-4d40-9e04-5d92f065258c" providerId="AD" clId="Web-{4F23E1B0-48AA-4D41-A878-2359AAB75D8B}" dt="2021-11-07T20:35:23.671" v="127" actId="20577"/>
          <ac:spMkLst>
            <pc:docMk/>
            <pc:sldMk cId="3969723462" sldId="11595"/>
            <ac:spMk id="45" creationId="{79C0AD2C-DBE8-44D3-8274-56F6E09C5A09}"/>
          </ac:spMkLst>
        </pc:spChg>
      </pc:sldChg>
      <pc:sldChg chg="ord">
        <pc:chgData name="Thota Veera Venkta" userId="S::tveeravenkta2020@student.hult.edu::821e509d-86d1-4d40-9e04-5d92f065258c" providerId="AD" clId="Web-{4F23E1B0-48AA-4D41-A878-2359AAB75D8B}" dt="2021-11-07T21:18:26.690" v="390"/>
        <pc:sldMkLst>
          <pc:docMk/>
          <pc:sldMk cId="3976684779" sldId="11596"/>
        </pc:sldMkLst>
      </pc:sldChg>
    </pc:docChg>
  </pc:docChgLst>
  <pc:docChgLst>
    <pc:chgData name="Takahito Komori" userId="7fd2de49-45b2-4181-a5c4-7be443c8d43b" providerId="ADAL" clId="{4F526E21-4110-4048-B563-7C1BDA38EFF4}"/>
    <pc:docChg chg="undo redo custSel addSld delSld modSld sldOrd replTag">
      <pc:chgData name="Takahito Komori" userId="7fd2de49-45b2-4181-a5c4-7be443c8d43b" providerId="ADAL" clId="{4F526E21-4110-4048-B563-7C1BDA38EFF4}" dt="2021-11-08T03:12:24.599" v="5090" actId="47"/>
      <pc:docMkLst>
        <pc:docMk/>
      </pc:docMkLst>
      <pc:sldChg chg="addSp delSp modSp mod ord">
        <pc:chgData name="Takahito Komori" userId="7fd2de49-45b2-4181-a5c4-7be443c8d43b" providerId="ADAL" clId="{4F526E21-4110-4048-B563-7C1BDA38EFF4}" dt="2021-11-06T22:18:39.630" v="3927"/>
        <pc:sldMkLst>
          <pc:docMk/>
          <pc:sldMk cId="2954875576" sldId="281"/>
        </pc:sldMkLst>
        <pc:spChg chg="add del mod">
          <ac:chgData name="Takahito Komori" userId="7fd2de49-45b2-4181-a5c4-7be443c8d43b" providerId="ADAL" clId="{4F526E21-4110-4048-B563-7C1BDA38EFF4}" dt="2021-11-06T21:58:17.279" v="3127" actId="478"/>
          <ac:spMkLst>
            <pc:docMk/>
            <pc:sldMk cId="2954875576" sldId="281"/>
            <ac:spMk id="2" creationId="{BD82433F-15F4-4EEE-BC0C-594FDC392FEE}"/>
          </ac:spMkLst>
        </pc:spChg>
        <pc:spChg chg="mod ord">
          <ac:chgData name="Takahito Komori" userId="7fd2de49-45b2-4181-a5c4-7be443c8d43b" providerId="ADAL" clId="{4F526E21-4110-4048-B563-7C1BDA38EFF4}" dt="2021-11-06T21:57:31.834" v="3107"/>
          <ac:spMkLst>
            <pc:docMk/>
            <pc:sldMk cId="2954875576" sldId="281"/>
            <ac:spMk id="3" creationId="{7D74EF18-9B7A-4C54-9D94-2F12A1B79057}"/>
          </ac:spMkLst>
        </pc:spChg>
        <pc:spChg chg="add del mod topLvl">
          <ac:chgData name="Takahito Komori" userId="7fd2de49-45b2-4181-a5c4-7be443c8d43b" providerId="ADAL" clId="{4F526E21-4110-4048-B563-7C1BDA38EFF4}" dt="2021-11-06T22:16:29.161" v="3913" actId="478"/>
          <ac:spMkLst>
            <pc:docMk/>
            <pc:sldMk cId="2954875576" sldId="281"/>
            <ac:spMk id="4" creationId="{F2D6AAF9-DC16-4627-9D3C-563162585A97}"/>
          </ac:spMkLst>
        </pc:spChg>
        <pc:spChg chg="mod ord">
          <ac:chgData name="Takahito Komori" userId="7fd2de49-45b2-4181-a5c4-7be443c8d43b" providerId="ADAL" clId="{4F526E21-4110-4048-B563-7C1BDA38EFF4}" dt="2021-11-06T22:02:17.490" v="3416" actId="948"/>
          <ac:spMkLst>
            <pc:docMk/>
            <pc:sldMk cId="2954875576" sldId="281"/>
            <ac:spMk id="6" creationId="{1089D124-6461-421C-9CE3-6F57761E78FE}"/>
          </ac:spMkLst>
        </pc:spChg>
        <pc:spChg chg="add del mod modVis">
          <ac:chgData name="Takahito Komori" userId="7fd2de49-45b2-4181-a5c4-7be443c8d43b" providerId="ADAL" clId="{4F526E21-4110-4048-B563-7C1BDA38EFF4}" dt="2021-11-06T22:02:05.947" v="3320" actId="962"/>
          <ac:spMkLst>
            <pc:docMk/>
            <pc:sldMk cId="2954875576" sldId="281"/>
            <ac:spMk id="7" creationId="{517459A5-637D-4C80-B545-4268EABFA8A3}"/>
          </ac:spMkLst>
        </pc:spChg>
        <pc:spChg chg="add del mod modVis">
          <ac:chgData name="Takahito Komori" userId="7fd2de49-45b2-4181-a5c4-7be443c8d43b" providerId="ADAL" clId="{4F526E21-4110-4048-B563-7C1BDA38EFF4}" dt="2021-11-06T22:02:10.200" v="3367"/>
          <ac:spMkLst>
            <pc:docMk/>
            <pc:sldMk cId="2954875576" sldId="281"/>
            <ac:spMk id="8" creationId="{81B2C4E7-A033-4068-BC5F-35B2D1D8BBBE}"/>
          </ac:spMkLst>
        </pc:spChg>
        <pc:spChg chg="add del mod modVis">
          <ac:chgData name="Takahito Komori" userId="7fd2de49-45b2-4181-a5c4-7be443c8d43b" providerId="ADAL" clId="{4F526E21-4110-4048-B563-7C1BDA38EFF4}" dt="2021-11-06T22:02:11.579" v="3412"/>
          <ac:spMkLst>
            <pc:docMk/>
            <pc:sldMk cId="2954875576" sldId="281"/>
            <ac:spMk id="10" creationId="{A0AEE57C-B7A0-401E-9D07-948AEF0AD4DD}"/>
          </ac:spMkLst>
        </pc:spChg>
        <pc:spChg chg="add del mod modVis">
          <ac:chgData name="Takahito Komori" userId="7fd2de49-45b2-4181-a5c4-7be443c8d43b" providerId="ADAL" clId="{4F526E21-4110-4048-B563-7C1BDA38EFF4}" dt="2021-11-06T22:02:17.529" v="3456"/>
          <ac:spMkLst>
            <pc:docMk/>
            <pc:sldMk cId="2954875576" sldId="281"/>
            <ac:spMk id="11" creationId="{85FB2059-65ED-4884-BB5A-2D2DF76FEE13}"/>
          </ac:spMkLst>
        </pc:spChg>
        <pc:spChg chg="del">
          <ac:chgData name="Takahito Komori" userId="7fd2de49-45b2-4181-a5c4-7be443c8d43b" providerId="ADAL" clId="{4F526E21-4110-4048-B563-7C1BDA38EFF4}" dt="2021-11-06T21:52:05.572" v="3043" actId="478"/>
          <ac:spMkLst>
            <pc:docMk/>
            <pc:sldMk cId="2954875576" sldId="281"/>
            <ac:spMk id="13" creationId="{2B1F0649-2F7F-4EF3-BC9F-347B8E2E68A3}"/>
          </ac:spMkLst>
        </pc:spChg>
        <pc:spChg chg="del mod">
          <ac:chgData name="Takahito Komori" userId="7fd2de49-45b2-4181-a5c4-7be443c8d43b" providerId="ADAL" clId="{4F526E21-4110-4048-B563-7C1BDA38EFF4}" dt="2021-11-06T21:52:00.018" v="3042" actId="478"/>
          <ac:spMkLst>
            <pc:docMk/>
            <pc:sldMk cId="2954875576" sldId="281"/>
            <ac:spMk id="15" creationId="{BE6375DB-6928-45D2-AE85-6EE9760CFBBC}"/>
          </ac:spMkLst>
        </pc:spChg>
        <pc:spChg chg="mod ord">
          <ac:chgData name="Takahito Komori" userId="7fd2de49-45b2-4181-a5c4-7be443c8d43b" providerId="ADAL" clId="{4F526E21-4110-4048-B563-7C1BDA38EFF4}" dt="2021-11-06T22:02:34.947" v="3521" actId="20577"/>
          <ac:spMkLst>
            <pc:docMk/>
            <pc:sldMk cId="2954875576" sldId="281"/>
            <ac:spMk id="16" creationId="{32A523B0-5DD4-4323-A056-35FF0345B491}"/>
          </ac:spMkLst>
        </pc:spChg>
        <pc:spChg chg="del">
          <ac:chgData name="Takahito Komori" userId="7fd2de49-45b2-4181-a5c4-7be443c8d43b" providerId="ADAL" clId="{4F526E21-4110-4048-B563-7C1BDA38EFF4}" dt="2021-11-06T21:51:48.387" v="3017"/>
          <ac:spMkLst>
            <pc:docMk/>
            <pc:sldMk cId="2954875576" sldId="281"/>
            <ac:spMk id="31" creationId="{05E9BE8A-41D4-42DA-99EE-1D209B69A55C}"/>
          </ac:spMkLst>
        </pc:spChg>
        <pc:spChg chg="del">
          <ac:chgData name="Takahito Komori" userId="7fd2de49-45b2-4181-a5c4-7be443c8d43b" providerId="ADAL" clId="{4F526E21-4110-4048-B563-7C1BDA38EFF4}" dt="2021-11-06T21:51:48.388" v="3018"/>
          <ac:spMkLst>
            <pc:docMk/>
            <pc:sldMk cId="2954875576" sldId="281"/>
            <ac:spMk id="32" creationId="{40C37C98-5DFD-42AE-A6A3-948D19141CC5}"/>
          </ac:spMkLst>
        </pc:spChg>
        <pc:spChg chg="del">
          <ac:chgData name="Takahito Komori" userId="7fd2de49-45b2-4181-a5c4-7be443c8d43b" providerId="ADAL" clId="{4F526E21-4110-4048-B563-7C1BDA38EFF4}" dt="2021-11-06T21:51:48.395" v="3032"/>
          <ac:spMkLst>
            <pc:docMk/>
            <pc:sldMk cId="2954875576" sldId="281"/>
            <ac:spMk id="33" creationId="{65BB7AB5-BEF4-471F-98BC-BB6918FDB30B}"/>
          </ac:spMkLst>
        </pc:spChg>
        <pc:spChg chg="del">
          <ac:chgData name="Takahito Komori" userId="7fd2de49-45b2-4181-a5c4-7be443c8d43b" providerId="ADAL" clId="{4F526E21-4110-4048-B563-7C1BDA38EFF4}" dt="2021-11-06T21:51:48.388" v="3019"/>
          <ac:spMkLst>
            <pc:docMk/>
            <pc:sldMk cId="2954875576" sldId="281"/>
            <ac:spMk id="34" creationId="{8BCA977E-219B-4E51-9F12-6DAFADE6F370}"/>
          </ac:spMkLst>
        </pc:spChg>
        <pc:spChg chg="del">
          <ac:chgData name="Takahito Komori" userId="7fd2de49-45b2-4181-a5c4-7be443c8d43b" providerId="ADAL" clId="{4F526E21-4110-4048-B563-7C1BDA38EFF4}" dt="2021-11-06T21:51:48.385" v="3013"/>
          <ac:spMkLst>
            <pc:docMk/>
            <pc:sldMk cId="2954875576" sldId="281"/>
            <ac:spMk id="35" creationId="{E1D8C756-FA6C-4A80-ADCD-C375073488A5}"/>
          </ac:spMkLst>
        </pc:spChg>
        <pc:spChg chg="del">
          <ac:chgData name="Takahito Komori" userId="7fd2de49-45b2-4181-a5c4-7be443c8d43b" providerId="ADAL" clId="{4F526E21-4110-4048-B563-7C1BDA38EFF4}" dt="2021-11-06T21:51:48.387" v="3016"/>
          <ac:spMkLst>
            <pc:docMk/>
            <pc:sldMk cId="2954875576" sldId="281"/>
            <ac:spMk id="36" creationId="{765CB19D-C2F1-4359-B238-ACFC3A9A4820}"/>
          </ac:spMkLst>
        </pc:spChg>
        <pc:spChg chg="del">
          <ac:chgData name="Takahito Komori" userId="7fd2de49-45b2-4181-a5c4-7be443c8d43b" providerId="ADAL" clId="{4F526E21-4110-4048-B563-7C1BDA38EFF4}" dt="2021-11-06T21:51:48.385" v="3012"/>
          <ac:spMkLst>
            <pc:docMk/>
            <pc:sldMk cId="2954875576" sldId="281"/>
            <ac:spMk id="37" creationId="{24143681-63CF-40CE-8FC5-AD0358956BAB}"/>
          </ac:spMkLst>
        </pc:spChg>
        <pc:spChg chg="del">
          <ac:chgData name="Takahito Komori" userId="7fd2de49-45b2-4181-a5c4-7be443c8d43b" providerId="ADAL" clId="{4F526E21-4110-4048-B563-7C1BDA38EFF4}" dt="2021-11-06T21:51:48.384" v="3011"/>
          <ac:spMkLst>
            <pc:docMk/>
            <pc:sldMk cId="2954875576" sldId="281"/>
            <ac:spMk id="38" creationId="{8D369234-2ED6-4AFA-A8A3-F03A27ECE6BA}"/>
          </ac:spMkLst>
        </pc:spChg>
        <pc:spChg chg="del">
          <ac:chgData name="Takahito Komori" userId="7fd2de49-45b2-4181-a5c4-7be443c8d43b" providerId="ADAL" clId="{4F526E21-4110-4048-B563-7C1BDA38EFF4}" dt="2021-11-06T21:51:48.383" v="3010"/>
          <ac:spMkLst>
            <pc:docMk/>
            <pc:sldMk cId="2954875576" sldId="281"/>
            <ac:spMk id="39" creationId="{DD69E7A7-0DDE-45A2-AEB2-F6638CE17DD1}"/>
          </ac:spMkLst>
        </pc:spChg>
        <pc:spChg chg="del">
          <ac:chgData name="Takahito Komori" userId="7fd2de49-45b2-4181-a5c4-7be443c8d43b" providerId="ADAL" clId="{4F526E21-4110-4048-B563-7C1BDA38EFF4}" dt="2021-11-06T21:51:48.383" v="3009"/>
          <ac:spMkLst>
            <pc:docMk/>
            <pc:sldMk cId="2954875576" sldId="281"/>
            <ac:spMk id="40" creationId="{E9D71613-C6AE-43A9-8DFC-D28F41BC0F31}"/>
          </ac:spMkLst>
        </pc:spChg>
        <pc:spChg chg="del">
          <ac:chgData name="Takahito Komori" userId="7fd2de49-45b2-4181-a5c4-7be443c8d43b" providerId="ADAL" clId="{4F526E21-4110-4048-B563-7C1BDA38EFF4}" dt="2021-11-06T21:51:48.379" v="3006"/>
          <ac:spMkLst>
            <pc:docMk/>
            <pc:sldMk cId="2954875576" sldId="281"/>
            <ac:spMk id="42" creationId="{B32DEC60-1F27-7942-A8C8-F149E13B32C3}"/>
          </ac:spMkLst>
        </pc:spChg>
        <pc:spChg chg="mod ord">
          <ac:chgData name="Takahito Komori" userId="7fd2de49-45b2-4181-a5c4-7be443c8d43b" providerId="ADAL" clId="{4F526E21-4110-4048-B563-7C1BDA38EFF4}" dt="2021-11-06T22:12:05.273" v="3878"/>
          <ac:spMkLst>
            <pc:docMk/>
            <pc:sldMk cId="2954875576" sldId="281"/>
            <ac:spMk id="45" creationId="{79C0AD2C-DBE8-44D3-8274-56F6E09C5A09}"/>
          </ac:spMkLst>
        </pc:spChg>
        <pc:spChg chg="mod ord">
          <ac:chgData name="Takahito Komori" userId="7fd2de49-45b2-4181-a5c4-7be443c8d43b" providerId="ADAL" clId="{4F526E21-4110-4048-B563-7C1BDA38EFF4}" dt="2021-11-06T21:57:31.836" v="3115"/>
          <ac:spMkLst>
            <pc:docMk/>
            <pc:sldMk cId="2954875576" sldId="281"/>
            <ac:spMk id="46" creationId="{ACBDD868-1A79-449F-9104-0428E47E0DAC}"/>
          </ac:spMkLst>
        </pc:spChg>
        <pc:spChg chg="add del mod topLvl">
          <ac:chgData name="Takahito Komori" userId="7fd2de49-45b2-4181-a5c4-7be443c8d43b" providerId="ADAL" clId="{4F526E21-4110-4048-B563-7C1BDA38EFF4}" dt="2021-11-06T22:16:33.363" v="3914" actId="478"/>
          <ac:spMkLst>
            <pc:docMk/>
            <pc:sldMk cId="2954875576" sldId="281"/>
            <ac:spMk id="49" creationId="{2A7009CA-CFEF-4635-A7E2-2ED94C7197AF}"/>
          </ac:spMkLst>
        </pc:spChg>
        <pc:spChg chg="add mod topLvl">
          <ac:chgData name="Takahito Komori" userId="7fd2de49-45b2-4181-a5c4-7be443c8d43b" providerId="ADAL" clId="{4F526E21-4110-4048-B563-7C1BDA38EFF4}" dt="2021-11-06T22:09:51.149" v="3844" actId="113"/>
          <ac:spMkLst>
            <pc:docMk/>
            <pc:sldMk cId="2954875576" sldId="281"/>
            <ac:spMk id="50" creationId="{77F22D06-9156-4EFD-835C-D0696DF006BD}"/>
          </ac:spMkLst>
        </pc:spChg>
        <pc:spChg chg="add del mod">
          <ac:chgData name="Takahito Komori" userId="7fd2de49-45b2-4181-a5c4-7be443c8d43b" providerId="ADAL" clId="{4F526E21-4110-4048-B563-7C1BDA38EFF4}" dt="2021-11-06T22:00:58.923" v="3210" actId="478"/>
          <ac:spMkLst>
            <pc:docMk/>
            <pc:sldMk cId="2954875576" sldId="281"/>
            <ac:spMk id="51" creationId="{EB68D26E-40B9-4A22-963A-E6A857A9D5F6}"/>
          </ac:spMkLst>
        </pc:spChg>
        <pc:spChg chg="add del mod">
          <ac:chgData name="Takahito Komori" userId="7fd2de49-45b2-4181-a5c4-7be443c8d43b" providerId="ADAL" clId="{4F526E21-4110-4048-B563-7C1BDA38EFF4}" dt="2021-11-06T22:01:02.672" v="3212"/>
          <ac:spMkLst>
            <pc:docMk/>
            <pc:sldMk cId="2954875576" sldId="281"/>
            <ac:spMk id="52" creationId="{A26A0930-0871-4A70-9DC3-2E185534507A}"/>
          </ac:spMkLst>
        </pc:spChg>
        <pc:spChg chg="del">
          <ac:chgData name="Takahito Komori" userId="7fd2de49-45b2-4181-a5c4-7be443c8d43b" providerId="ADAL" clId="{4F526E21-4110-4048-B563-7C1BDA38EFF4}" dt="2021-11-06T21:51:48.382" v="3008"/>
          <ac:spMkLst>
            <pc:docMk/>
            <pc:sldMk cId="2954875576" sldId="281"/>
            <ac:spMk id="53" creationId="{697A6FC3-1105-4E8E-AE57-3951E7E211C8}"/>
          </ac:spMkLst>
        </pc:spChg>
        <pc:spChg chg="del">
          <ac:chgData name="Takahito Komori" userId="7fd2de49-45b2-4181-a5c4-7be443c8d43b" providerId="ADAL" clId="{4F526E21-4110-4048-B563-7C1BDA38EFF4}" dt="2021-11-06T21:51:48.381" v="3007"/>
          <ac:spMkLst>
            <pc:docMk/>
            <pc:sldMk cId="2954875576" sldId="281"/>
            <ac:spMk id="54" creationId="{F765D50B-21BF-4FA2-A272-A418AA1C8BF3}"/>
          </ac:spMkLst>
        </pc:spChg>
        <pc:spChg chg="add mod topLvl">
          <ac:chgData name="Takahito Komori" userId="7fd2de49-45b2-4181-a5c4-7be443c8d43b" providerId="ADAL" clId="{4F526E21-4110-4048-B563-7C1BDA38EFF4}" dt="2021-11-06T22:10:42.705" v="3846" actId="113"/>
          <ac:spMkLst>
            <pc:docMk/>
            <pc:sldMk cId="2954875576" sldId="281"/>
            <ac:spMk id="55" creationId="{F744FB79-80A5-4FFE-912E-197C96F94A04}"/>
          </ac:spMkLst>
        </pc:spChg>
        <pc:spChg chg="add mod">
          <ac:chgData name="Takahito Komori" userId="7fd2de49-45b2-4181-a5c4-7be443c8d43b" providerId="ADAL" clId="{4F526E21-4110-4048-B563-7C1BDA38EFF4}" dt="2021-11-06T22:17:17.542" v="3923" actId="1037"/>
          <ac:spMkLst>
            <pc:docMk/>
            <pc:sldMk cId="2954875576" sldId="281"/>
            <ac:spMk id="56" creationId="{E77A8164-C1B4-4A55-ADBA-A23EAF6A1632}"/>
          </ac:spMkLst>
        </pc:spChg>
        <pc:spChg chg="add mod">
          <ac:chgData name="Takahito Komori" userId="7fd2de49-45b2-4181-a5c4-7be443c8d43b" providerId="ADAL" clId="{4F526E21-4110-4048-B563-7C1BDA38EFF4}" dt="2021-11-06T22:16:38.031" v="3915" actId="1076"/>
          <ac:spMkLst>
            <pc:docMk/>
            <pc:sldMk cId="2954875576" sldId="281"/>
            <ac:spMk id="57" creationId="{2A0BF585-E673-4BA5-B63F-851B31FA5CCF}"/>
          </ac:spMkLst>
        </pc:spChg>
        <pc:spChg chg="add mod">
          <ac:chgData name="Takahito Komori" userId="7fd2de49-45b2-4181-a5c4-7be443c8d43b" providerId="ADAL" clId="{4F526E21-4110-4048-B563-7C1BDA38EFF4}" dt="2021-11-06T22:16:49.171" v="3917" actId="1076"/>
          <ac:spMkLst>
            <pc:docMk/>
            <pc:sldMk cId="2954875576" sldId="281"/>
            <ac:spMk id="58" creationId="{D69EFD27-50A2-4182-B3AA-7ADA2AA99FA3}"/>
          </ac:spMkLst>
        </pc:spChg>
        <pc:spChg chg="add mod">
          <ac:chgData name="Takahito Komori" userId="7fd2de49-45b2-4181-a5c4-7be443c8d43b" providerId="ADAL" clId="{4F526E21-4110-4048-B563-7C1BDA38EFF4}" dt="2021-11-06T22:17:14.031" v="3922" actId="1037"/>
          <ac:spMkLst>
            <pc:docMk/>
            <pc:sldMk cId="2954875576" sldId="281"/>
            <ac:spMk id="59" creationId="{EB896247-9292-4CA2-B160-F984D5F9C948}"/>
          </ac:spMkLst>
        </pc:spChg>
        <pc:spChg chg="del">
          <ac:chgData name="Takahito Komori" userId="7fd2de49-45b2-4181-a5c4-7be443c8d43b" providerId="ADAL" clId="{4F526E21-4110-4048-B563-7C1BDA38EFF4}" dt="2021-11-06T21:51:48.386" v="3015"/>
          <ac:spMkLst>
            <pc:docMk/>
            <pc:sldMk cId="2954875576" sldId="281"/>
            <ac:spMk id="71" creationId="{B32DEC60-1F27-7942-A8C8-F149E13B32C3}"/>
          </ac:spMkLst>
        </pc:spChg>
        <pc:grpChg chg="add del mod">
          <ac:chgData name="Takahito Komori" userId="7fd2de49-45b2-4181-a5c4-7be443c8d43b" providerId="ADAL" clId="{4F526E21-4110-4048-B563-7C1BDA38EFF4}" dt="2021-11-06T22:06:35.800" v="3726" actId="165"/>
          <ac:grpSpMkLst>
            <pc:docMk/>
            <pc:sldMk cId="2954875576" sldId="281"/>
            <ac:grpSpMk id="12" creationId="{9B1F29C8-FCE7-4B1D-B8DD-547FC85F8A0D}"/>
          </ac:grpSpMkLst>
        </pc:grpChg>
        <pc:graphicFrameChg chg="mod">
          <ac:chgData name="Takahito Komori" userId="7fd2de49-45b2-4181-a5c4-7be443c8d43b" providerId="ADAL" clId="{4F526E21-4110-4048-B563-7C1BDA38EFF4}" dt="2021-11-06T22:02:17.531" v="3458"/>
          <ac:graphicFrameMkLst>
            <pc:docMk/>
            <pc:sldMk cId="2954875576" sldId="281"/>
            <ac:graphicFrameMk id="9" creationId="{8F6E819A-7BF9-42DD-87B7-810ED3EB495D}"/>
          </ac:graphicFrameMkLst>
        </pc:graphicFrameChg>
        <pc:graphicFrameChg chg="del">
          <ac:chgData name="Takahito Komori" userId="7fd2de49-45b2-4181-a5c4-7be443c8d43b" providerId="ADAL" clId="{4F526E21-4110-4048-B563-7C1BDA38EFF4}" dt="2021-11-06T21:51:48.397" v="3034"/>
          <ac:graphicFrameMkLst>
            <pc:docMk/>
            <pc:sldMk cId="2954875576" sldId="281"/>
            <ac:graphicFrameMk id="41" creationId="{97475A5D-0917-4F0A-9B00-FFA7D81381E8}"/>
          </ac:graphicFrameMkLst>
        </pc:graphicFrameChg>
        <pc:picChg chg="del mod">
          <ac:chgData name="Takahito Komori" userId="7fd2de49-45b2-4181-a5c4-7be443c8d43b" providerId="ADAL" clId="{4F526E21-4110-4048-B563-7C1BDA38EFF4}" dt="2021-11-06T21:56:53.279" v="3062" actId="478"/>
          <ac:picMkLst>
            <pc:docMk/>
            <pc:sldMk cId="2954875576" sldId="281"/>
            <ac:picMk id="5" creationId="{2AB61703-AC68-6D4D-A3EC-B54EA40D6B78}"/>
          </ac:picMkLst>
        </pc:picChg>
        <pc:picChg chg="mod">
          <ac:chgData name="Takahito Komori" userId="7fd2de49-45b2-4181-a5c4-7be443c8d43b" providerId="ADAL" clId="{4F526E21-4110-4048-B563-7C1BDA38EFF4}" dt="2021-11-06T22:14:38.248" v="3895"/>
          <ac:picMkLst>
            <pc:docMk/>
            <pc:sldMk cId="2954875576" sldId="281"/>
            <ac:picMk id="13" creationId="{2F4EE37F-E867-D54F-880B-6B540C2DC3A0}"/>
          </ac:picMkLst>
        </pc:picChg>
        <pc:picChg chg="mod">
          <ac:chgData name="Takahito Komori" userId="7fd2de49-45b2-4181-a5c4-7be443c8d43b" providerId="ADAL" clId="{4F526E21-4110-4048-B563-7C1BDA38EFF4}" dt="2021-11-06T22:17:50.137" v="3925" actId="14100"/>
          <ac:picMkLst>
            <pc:docMk/>
            <pc:sldMk cId="2954875576" sldId="281"/>
            <ac:picMk id="15" creationId="{29C53EFC-1719-BE44-ACFF-B744978C1480}"/>
          </ac:picMkLst>
        </pc:picChg>
        <pc:picChg chg="mod ord">
          <ac:chgData name="Takahito Komori" userId="7fd2de49-45b2-4181-a5c4-7be443c8d43b" providerId="ADAL" clId="{4F526E21-4110-4048-B563-7C1BDA38EFF4}" dt="2021-11-06T22:06:02.889" v="3723" actId="1038"/>
          <ac:picMkLst>
            <pc:docMk/>
            <pc:sldMk cId="2954875576" sldId="281"/>
            <ac:picMk id="44" creationId="{B40AE246-96C5-4D90-954C-E5F676BABEE1}"/>
          </ac:picMkLst>
        </pc:picChg>
        <pc:picChg chg="add mod ord topLvl">
          <ac:chgData name="Takahito Komori" userId="7fd2de49-45b2-4181-a5c4-7be443c8d43b" providerId="ADAL" clId="{4F526E21-4110-4048-B563-7C1BDA38EFF4}" dt="2021-11-06T22:16:03.555" v="3908" actId="1076"/>
          <ac:picMkLst>
            <pc:docMk/>
            <pc:sldMk cId="2954875576" sldId="281"/>
            <ac:picMk id="47" creationId="{034A31F0-F30F-403F-AD8F-E239F7F1F547}"/>
          </ac:picMkLst>
        </pc:picChg>
        <pc:picChg chg="add mod">
          <ac:chgData name="Takahito Komori" userId="7fd2de49-45b2-4181-a5c4-7be443c8d43b" providerId="ADAL" clId="{4F526E21-4110-4048-B563-7C1BDA38EFF4}" dt="2021-11-06T21:53:21.129" v="3057" actId="14100"/>
          <ac:picMkLst>
            <pc:docMk/>
            <pc:sldMk cId="2954875576" sldId="281"/>
            <ac:picMk id="48" creationId="{1319322F-03E3-4FE3-9916-F26475B9BA96}"/>
          </ac:picMkLst>
        </pc:picChg>
        <pc:cxnChg chg="del mod">
          <ac:chgData name="Takahito Komori" userId="7fd2de49-45b2-4181-a5c4-7be443c8d43b" providerId="ADAL" clId="{4F526E21-4110-4048-B563-7C1BDA38EFF4}" dt="2021-11-06T21:52:05.572" v="3043" actId="478"/>
          <ac:cxnSpMkLst>
            <pc:docMk/>
            <pc:sldMk cId="2954875576" sldId="281"/>
            <ac:cxnSpMk id="5" creationId="{E388A6A8-C385-3641-A29E-934A4F5AF4C7}"/>
          </ac:cxnSpMkLst>
        </pc:cxnChg>
        <pc:cxnChg chg="del">
          <ac:chgData name="Takahito Komori" userId="7fd2de49-45b2-4181-a5c4-7be443c8d43b" providerId="ADAL" clId="{4F526E21-4110-4048-B563-7C1BDA38EFF4}" dt="2021-11-06T21:51:48.393" v="3027"/>
          <ac:cxnSpMkLst>
            <pc:docMk/>
            <pc:sldMk cId="2954875576" sldId="281"/>
            <ac:cxnSpMk id="26" creationId="{175A55CD-9DF9-466D-8E95-F9821C4FA403}"/>
          </ac:cxnSpMkLst>
        </pc:cxnChg>
        <pc:cxnChg chg="del">
          <ac:chgData name="Takahito Komori" userId="7fd2de49-45b2-4181-a5c4-7be443c8d43b" providerId="ADAL" clId="{4F526E21-4110-4048-B563-7C1BDA38EFF4}" dt="2021-11-06T21:51:48.395" v="3031"/>
          <ac:cxnSpMkLst>
            <pc:docMk/>
            <pc:sldMk cId="2954875576" sldId="281"/>
            <ac:cxnSpMk id="27" creationId="{1171377B-6996-4893-81B9-2AD44CD3840D}"/>
          </ac:cxnSpMkLst>
        </pc:cxnChg>
        <pc:cxnChg chg="del">
          <ac:chgData name="Takahito Komori" userId="7fd2de49-45b2-4181-a5c4-7be443c8d43b" providerId="ADAL" clId="{4F526E21-4110-4048-B563-7C1BDA38EFF4}" dt="2021-11-06T21:51:48.394" v="3029"/>
          <ac:cxnSpMkLst>
            <pc:docMk/>
            <pc:sldMk cId="2954875576" sldId="281"/>
            <ac:cxnSpMk id="28" creationId="{E27FFEE3-A5E1-4072-9C8C-FE0AEAD423B8}"/>
          </ac:cxnSpMkLst>
        </pc:cxnChg>
        <pc:cxnChg chg="del">
          <ac:chgData name="Takahito Komori" userId="7fd2de49-45b2-4181-a5c4-7be443c8d43b" providerId="ADAL" clId="{4F526E21-4110-4048-B563-7C1BDA38EFF4}" dt="2021-11-06T21:51:48.392" v="3025"/>
          <ac:cxnSpMkLst>
            <pc:docMk/>
            <pc:sldMk cId="2954875576" sldId="281"/>
            <ac:cxnSpMk id="29" creationId="{3F956077-B869-4ACD-9C83-38DAB44EE262}"/>
          </ac:cxnSpMkLst>
        </pc:cxnChg>
        <pc:cxnChg chg="del">
          <ac:chgData name="Takahito Komori" userId="7fd2de49-45b2-4181-a5c4-7be443c8d43b" providerId="ADAL" clId="{4F526E21-4110-4048-B563-7C1BDA38EFF4}" dt="2021-11-06T21:52:05.572" v="3043" actId="478"/>
          <ac:cxnSpMkLst>
            <pc:docMk/>
            <pc:sldMk cId="2954875576" sldId="281"/>
            <ac:cxnSpMk id="43" creationId="{63FF51BF-447C-1A41-8FE0-E31EB38191C5}"/>
          </ac:cxnSpMkLst>
        </pc:cxnChg>
        <pc:cxnChg chg="del">
          <ac:chgData name="Takahito Komori" userId="7fd2de49-45b2-4181-a5c4-7be443c8d43b" providerId="ADAL" clId="{4F526E21-4110-4048-B563-7C1BDA38EFF4}" dt="2021-11-06T21:51:48.391" v="3023"/>
          <ac:cxnSpMkLst>
            <pc:docMk/>
            <pc:sldMk cId="2954875576" sldId="281"/>
            <ac:cxnSpMk id="72" creationId="{A61A30B4-F2F5-4307-BA11-6F5AF760E7D7}"/>
          </ac:cxnSpMkLst>
        </pc:cxnChg>
        <pc:cxnChg chg="del">
          <ac:chgData name="Takahito Komori" userId="7fd2de49-45b2-4181-a5c4-7be443c8d43b" providerId="ADAL" clId="{4F526E21-4110-4048-B563-7C1BDA38EFF4}" dt="2021-11-06T21:51:48.390" v="3021"/>
          <ac:cxnSpMkLst>
            <pc:docMk/>
            <pc:sldMk cId="2954875576" sldId="281"/>
            <ac:cxnSpMk id="73" creationId="{515B98F5-D334-4883-BBB3-701982399D1E}"/>
          </ac:cxnSpMkLst>
        </pc:cxnChg>
      </pc:sldChg>
      <pc:sldChg chg="addSp delSp modSp del mod">
        <pc:chgData name="Takahito Komori" userId="7fd2de49-45b2-4181-a5c4-7be443c8d43b" providerId="ADAL" clId="{4F526E21-4110-4048-B563-7C1BDA38EFF4}" dt="2021-11-06T21:52:25.083" v="3046" actId="2696"/>
        <pc:sldMkLst>
          <pc:docMk/>
          <pc:sldMk cId="2651786787" sldId="3081"/>
        </pc:sldMkLst>
        <pc:spChg chg="mod">
          <ac:chgData name="Takahito Komori" userId="7fd2de49-45b2-4181-a5c4-7be443c8d43b" providerId="ADAL" clId="{4F526E21-4110-4048-B563-7C1BDA38EFF4}" dt="2021-11-06T21:47:18.933" v="2798" actId="948"/>
          <ac:spMkLst>
            <pc:docMk/>
            <pc:sldMk cId="2651786787" sldId="3081"/>
            <ac:spMk id="2" creationId="{4BD7C075-4BCD-4C18-9857-16948C589A18}"/>
          </ac:spMkLst>
        </pc:spChg>
        <pc:spChg chg="mod">
          <ac:chgData name="Takahito Komori" userId="7fd2de49-45b2-4181-a5c4-7be443c8d43b" providerId="ADAL" clId="{4F526E21-4110-4048-B563-7C1BDA38EFF4}" dt="2021-11-06T21:49:43.823" v="2957" actId="1036"/>
          <ac:spMkLst>
            <pc:docMk/>
            <pc:sldMk cId="2651786787" sldId="3081"/>
            <ac:spMk id="4" creationId="{E6D634C7-C05C-451A-A8D9-AEAE38D7648E}"/>
          </ac:spMkLst>
        </pc:spChg>
        <pc:spChg chg="del">
          <ac:chgData name="Takahito Komori" userId="7fd2de49-45b2-4181-a5c4-7be443c8d43b" providerId="ADAL" clId="{4F526E21-4110-4048-B563-7C1BDA38EFF4}" dt="2021-11-06T21:47:20.918" v="2802" actId="478"/>
          <ac:spMkLst>
            <pc:docMk/>
            <pc:sldMk cId="2651786787" sldId="3081"/>
            <ac:spMk id="5" creationId="{E2190164-AD24-4823-AF5C-8163B9CF9383}"/>
          </ac:spMkLst>
        </pc:spChg>
        <pc:spChg chg="del">
          <ac:chgData name="Takahito Komori" userId="7fd2de49-45b2-4181-a5c4-7be443c8d43b" providerId="ADAL" clId="{4F526E21-4110-4048-B563-7C1BDA38EFF4}" dt="2021-11-06T21:47:18.916" v="2789"/>
          <ac:spMkLst>
            <pc:docMk/>
            <pc:sldMk cId="2651786787" sldId="3081"/>
            <ac:spMk id="16" creationId="{0B9C32FB-4052-4560-ADBA-C72BDF143C9C}"/>
          </ac:spMkLst>
        </pc:spChg>
        <pc:spChg chg="del">
          <ac:chgData name="Takahito Komori" userId="7fd2de49-45b2-4181-a5c4-7be443c8d43b" providerId="ADAL" clId="{4F526E21-4110-4048-B563-7C1BDA38EFF4}" dt="2021-11-06T21:47:18.918" v="2792"/>
          <ac:spMkLst>
            <pc:docMk/>
            <pc:sldMk cId="2651786787" sldId="3081"/>
            <ac:spMk id="18" creationId="{B15E69F6-944E-49BD-B06F-34B08A46DED1}"/>
          </ac:spMkLst>
        </pc:spChg>
        <pc:spChg chg="del">
          <ac:chgData name="Takahito Komori" userId="7fd2de49-45b2-4181-a5c4-7be443c8d43b" providerId="ADAL" clId="{4F526E21-4110-4048-B563-7C1BDA38EFF4}" dt="2021-11-06T21:47:18.917" v="2791"/>
          <ac:spMkLst>
            <pc:docMk/>
            <pc:sldMk cId="2651786787" sldId="3081"/>
            <ac:spMk id="19" creationId="{FAD800A3-D702-44F0-AA97-C198EB3BF2D4}"/>
          </ac:spMkLst>
        </pc:spChg>
        <pc:spChg chg="del">
          <ac:chgData name="Takahito Komori" userId="7fd2de49-45b2-4181-a5c4-7be443c8d43b" providerId="ADAL" clId="{4F526E21-4110-4048-B563-7C1BDA38EFF4}" dt="2021-11-06T21:47:18.917" v="2790"/>
          <ac:spMkLst>
            <pc:docMk/>
            <pc:sldMk cId="2651786787" sldId="3081"/>
            <ac:spMk id="21" creationId="{F88E92F7-E680-4B07-83F5-2B288215E20E}"/>
          </ac:spMkLst>
        </pc:spChg>
        <pc:spChg chg="del">
          <ac:chgData name="Takahito Komori" userId="7fd2de49-45b2-4181-a5c4-7be443c8d43b" providerId="ADAL" clId="{4F526E21-4110-4048-B563-7C1BDA38EFF4}" dt="2021-11-06T21:47:18.915" v="2788"/>
          <ac:spMkLst>
            <pc:docMk/>
            <pc:sldMk cId="2651786787" sldId="3081"/>
            <ac:spMk id="40" creationId="{EEC1D680-95FA-48A0-8F14-99E486F13948}"/>
          </ac:spMkLst>
        </pc:spChg>
        <pc:spChg chg="del">
          <ac:chgData name="Takahito Komori" userId="7fd2de49-45b2-4181-a5c4-7be443c8d43b" providerId="ADAL" clId="{4F526E21-4110-4048-B563-7C1BDA38EFF4}" dt="2021-11-06T21:47:18.914" v="2787"/>
          <ac:spMkLst>
            <pc:docMk/>
            <pc:sldMk cId="2651786787" sldId="3081"/>
            <ac:spMk id="41" creationId="{D4A73D8D-E5A0-4F8C-A463-06214AC7A0C6}"/>
          </ac:spMkLst>
        </pc:spChg>
        <pc:spChg chg="del">
          <ac:chgData name="Takahito Komori" userId="7fd2de49-45b2-4181-a5c4-7be443c8d43b" providerId="ADAL" clId="{4F526E21-4110-4048-B563-7C1BDA38EFF4}" dt="2021-11-06T21:47:18.913" v="2786"/>
          <ac:spMkLst>
            <pc:docMk/>
            <pc:sldMk cId="2651786787" sldId="3081"/>
            <ac:spMk id="42" creationId="{77E88694-CA6B-4AD9-9D77-B14D632AB805}"/>
          </ac:spMkLst>
        </pc:spChg>
        <pc:spChg chg="del">
          <ac:chgData name="Takahito Komori" userId="7fd2de49-45b2-4181-a5c4-7be443c8d43b" providerId="ADAL" clId="{4F526E21-4110-4048-B563-7C1BDA38EFF4}" dt="2021-11-06T21:47:18.911" v="2785"/>
          <ac:spMkLst>
            <pc:docMk/>
            <pc:sldMk cId="2651786787" sldId="3081"/>
            <ac:spMk id="43" creationId="{2552A48B-702C-49A9-9236-E50F4CD4CC5F}"/>
          </ac:spMkLst>
        </pc:spChg>
        <pc:spChg chg="del">
          <ac:chgData name="Takahito Komori" userId="7fd2de49-45b2-4181-a5c4-7be443c8d43b" providerId="ADAL" clId="{4F526E21-4110-4048-B563-7C1BDA38EFF4}" dt="2021-11-06T21:47:18.910" v="2784"/>
          <ac:spMkLst>
            <pc:docMk/>
            <pc:sldMk cId="2651786787" sldId="3081"/>
            <ac:spMk id="44" creationId="{172B9D61-214B-4758-ADC4-12E34E5A7EC9}"/>
          </ac:spMkLst>
        </pc:spChg>
        <pc:spChg chg="del">
          <ac:chgData name="Takahito Komori" userId="7fd2de49-45b2-4181-a5c4-7be443c8d43b" providerId="ADAL" clId="{4F526E21-4110-4048-B563-7C1BDA38EFF4}" dt="2021-11-06T21:47:18.908" v="2783"/>
          <ac:spMkLst>
            <pc:docMk/>
            <pc:sldMk cId="2651786787" sldId="3081"/>
            <ac:spMk id="45" creationId="{C6090449-30B4-409D-BF89-78B9B4C846F2}"/>
          </ac:spMkLst>
        </pc:spChg>
        <pc:spChg chg="del">
          <ac:chgData name="Takahito Komori" userId="7fd2de49-45b2-4181-a5c4-7be443c8d43b" providerId="ADAL" clId="{4F526E21-4110-4048-B563-7C1BDA38EFF4}" dt="2021-11-06T21:47:18.906" v="2782"/>
          <ac:spMkLst>
            <pc:docMk/>
            <pc:sldMk cId="2651786787" sldId="3081"/>
            <ac:spMk id="46" creationId="{23D3B36D-E232-4E05-9C73-F86AAAE3EBAD}"/>
          </ac:spMkLst>
        </pc:spChg>
        <pc:spChg chg="del">
          <ac:chgData name="Takahito Komori" userId="7fd2de49-45b2-4181-a5c4-7be443c8d43b" providerId="ADAL" clId="{4F526E21-4110-4048-B563-7C1BDA38EFF4}" dt="2021-11-06T21:47:18.903" v="2781"/>
          <ac:spMkLst>
            <pc:docMk/>
            <pc:sldMk cId="2651786787" sldId="3081"/>
            <ac:spMk id="47" creationId="{6E632346-151A-4C7D-9A53-77F52073FD21}"/>
          </ac:spMkLst>
        </pc:spChg>
        <pc:spChg chg="mod">
          <ac:chgData name="Takahito Komori" userId="7fd2de49-45b2-4181-a5c4-7be443c8d43b" providerId="ADAL" clId="{4F526E21-4110-4048-B563-7C1BDA38EFF4}" dt="2021-11-06T21:51:25.887" v="3004" actId="14100"/>
          <ac:spMkLst>
            <pc:docMk/>
            <pc:sldMk cId="2651786787" sldId="3081"/>
            <ac:spMk id="48" creationId="{88533EB3-AC2C-4733-8F5C-4AB1082B2D9B}"/>
          </ac:spMkLst>
        </pc:spChg>
        <pc:spChg chg="del mod">
          <ac:chgData name="Takahito Komori" userId="7fd2de49-45b2-4181-a5c4-7be443c8d43b" providerId="ADAL" clId="{4F526E21-4110-4048-B563-7C1BDA38EFF4}" dt="2021-11-06T21:51:13.013" v="2964" actId="478"/>
          <ac:spMkLst>
            <pc:docMk/>
            <pc:sldMk cId="2651786787" sldId="3081"/>
            <ac:spMk id="62" creationId="{2190053A-1D31-4634-B655-AB21106EB55A}"/>
          </ac:spMkLst>
        </pc:spChg>
        <pc:spChg chg="del mod">
          <ac:chgData name="Takahito Komori" userId="7fd2de49-45b2-4181-a5c4-7be443c8d43b" providerId="ADAL" clId="{4F526E21-4110-4048-B563-7C1BDA38EFF4}" dt="2021-11-06T21:51:13.013" v="2964" actId="478"/>
          <ac:spMkLst>
            <pc:docMk/>
            <pc:sldMk cId="2651786787" sldId="3081"/>
            <ac:spMk id="63" creationId="{E951A253-998F-4CA2-9006-31F1906FADC9}"/>
          </ac:spMkLst>
        </pc:spChg>
        <pc:spChg chg="del">
          <ac:chgData name="Takahito Komori" userId="7fd2de49-45b2-4181-a5c4-7be443c8d43b" providerId="ADAL" clId="{4F526E21-4110-4048-B563-7C1BDA38EFF4}" dt="2021-11-06T21:48:15.572" v="2817" actId="478"/>
          <ac:spMkLst>
            <pc:docMk/>
            <pc:sldMk cId="2651786787" sldId="3081"/>
            <ac:spMk id="64" creationId="{B14B8F9E-AB22-4878-B38F-C19699A8E53E}"/>
          </ac:spMkLst>
        </pc:spChg>
        <pc:spChg chg="del mod">
          <ac:chgData name="Takahito Komori" userId="7fd2de49-45b2-4181-a5c4-7be443c8d43b" providerId="ADAL" clId="{4F526E21-4110-4048-B563-7C1BDA38EFF4}" dt="2021-11-06T21:51:13.013" v="2964" actId="478"/>
          <ac:spMkLst>
            <pc:docMk/>
            <pc:sldMk cId="2651786787" sldId="3081"/>
            <ac:spMk id="65" creationId="{A0B58970-B4EA-4800-8A11-D04F14F78602}"/>
          </ac:spMkLst>
        </pc:spChg>
        <pc:spChg chg="del">
          <ac:chgData name="Takahito Komori" userId="7fd2de49-45b2-4181-a5c4-7be443c8d43b" providerId="ADAL" clId="{4F526E21-4110-4048-B563-7C1BDA38EFF4}" dt="2021-11-06T21:48:15.572" v="2817" actId="478"/>
          <ac:spMkLst>
            <pc:docMk/>
            <pc:sldMk cId="2651786787" sldId="3081"/>
            <ac:spMk id="66" creationId="{EF41A102-9666-4594-A9BC-7A8BB5BB7AD7}"/>
          </ac:spMkLst>
        </pc:spChg>
        <pc:spChg chg="del">
          <ac:chgData name="Takahito Komori" userId="7fd2de49-45b2-4181-a5c4-7be443c8d43b" providerId="ADAL" clId="{4F526E21-4110-4048-B563-7C1BDA38EFF4}" dt="2021-11-06T21:47:24.789" v="2803" actId="478"/>
          <ac:spMkLst>
            <pc:docMk/>
            <pc:sldMk cId="2651786787" sldId="3081"/>
            <ac:spMk id="115" creationId="{47FF5ACE-3A96-4D36-ACD4-A13B31E90C1D}"/>
          </ac:spMkLst>
        </pc:spChg>
        <pc:spChg chg="del">
          <ac:chgData name="Takahito Komori" userId="7fd2de49-45b2-4181-a5c4-7be443c8d43b" providerId="ADAL" clId="{4F526E21-4110-4048-B563-7C1BDA38EFF4}" dt="2021-11-06T21:47:24.789" v="2803" actId="478"/>
          <ac:spMkLst>
            <pc:docMk/>
            <pc:sldMk cId="2651786787" sldId="3081"/>
            <ac:spMk id="116" creationId="{E30129D7-8359-4EC7-9F6F-A2C2872EA9FC}"/>
          </ac:spMkLst>
        </pc:spChg>
        <pc:spChg chg="del">
          <ac:chgData name="Takahito Komori" userId="7fd2de49-45b2-4181-a5c4-7be443c8d43b" providerId="ADAL" clId="{4F526E21-4110-4048-B563-7C1BDA38EFF4}" dt="2021-11-06T21:47:24.789" v="2803" actId="478"/>
          <ac:spMkLst>
            <pc:docMk/>
            <pc:sldMk cId="2651786787" sldId="3081"/>
            <ac:spMk id="117" creationId="{A29C94A2-384F-43CD-9B0A-2D19216D199C}"/>
          </ac:spMkLst>
        </pc:spChg>
        <pc:spChg chg="del">
          <ac:chgData name="Takahito Komori" userId="7fd2de49-45b2-4181-a5c4-7be443c8d43b" providerId="ADAL" clId="{4F526E21-4110-4048-B563-7C1BDA38EFF4}" dt="2021-11-06T21:47:18.919" v="2795"/>
          <ac:spMkLst>
            <pc:docMk/>
            <pc:sldMk cId="2651786787" sldId="3081"/>
            <ac:spMk id="305" creationId="{B32DEC60-1F27-7942-A8C8-F149E13B32C3}"/>
          </ac:spMkLst>
        </pc:spChg>
        <pc:spChg chg="del">
          <ac:chgData name="Takahito Komori" userId="7fd2de49-45b2-4181-a5c4-7be443c8d43b" providerId="ADAL" clId="{4F526E21-4110-4048-B563-7C1BDA38EFF4}" dt="2021-11-06T21:47:18.919" v="2794"/>
          <ac:spMkLst>
            <pc:docMk/>
            <pc:sldMk cId="2651786787" sldId="3081"/>
            <ac:spMk id="307" creationId="{B32DEC60-1F27-7942-A8C8-F149E13B32C3}"/>
          </ac:spMkLst>
        </pc:spChg>
        <pc:spChg chg="del">
          <ac:chgData name="Takahito Komori" userId="7fd2de49-45b2-4181-a5c4-7be443c8d43b" providerId="ADAL" clId="{4F526E21-4110-4048-B563-7C1BDA38EFF4}" dt="2021-11-06T21:47:18.918" v="2793"/>
          <ac:spMkLst>
            <pc:docMk/>
            <pc:sldMk cId="2651786787" sldId="3081"/>
            <ac:spMk id="385" creationId="{88406B0D-8045-485A-8D38-AF3833F676EB}"/>
          </ac:spMkLst>
        </pc:spChg>
        <pc:graphicFrameChg chg="mod">
          <ac:chgData name="Takahito Komori" userId="7fd2de49-45b2-4181-a5c4-7be443c8d43b" providerId="ADAL" clId="{4F526E21-4110-4048-B563-7C1BDA38EFF4}" dt="2021-11-06T21:47:18.938" v="2801"/>
          <ac:graphicFrameMkLst>
            <pc:docMk/>
            <pc:sldMk cId="2651786787" sldId="3081"/>
            <ac:graphicFrameMk id="28" creationId="{B36CBB83-C66F-46FB-9298-BE9A41FFAFB7}"/>
          </ac:graphicFrameMkLst>
        </pc:graphicFrameChg>
        <pc:graphicFrameChg chg="del">
          <ac:chgData name="Takahito Komori" userId="7fd2de49-45b2-4181-a5c4-7be443c8d43b" providerId="ADAL" clId="{4F526E21-4110-4048-B563-7C1BDA38EFF4}" dt="2021-11-06T21:47:18.922" v="2797"/>
          <ac:graphicFrameMkLst>
            <pc:docMk/>
            <pc:sldMk cId="2651786787" sldId="3081"/>
            <ac:graphicFrameMk id="69" creationId="{4EE9FF68-8DF1-4A38-B609-AAACA717D08C}"/>
          </ac:graphicFrameMkLst>
        </pc:graphicFrameChg>
        <pc:picChg chg="add mod">
          <ac:chgData name="Takahito Komori" userId="7fd2de49-45b2-4181-a5c4-7be443c8d43b" providerId="ADAL" clId="{4F526E21-4110-4048-B563-7C1BDA38EFF4}" dt="2021-11-06T21:50:04.085" v="2961" actId="1076"/>
          <ac:picMkLst>
            <pc:docMk/>
            <pc:sldMk cId="2651786787" sldId="3081"/>
            <ac:picMk id="8" creationId="{C6715554-0396-42C8-8536-96193D0B53CB}"/>
          </ac:picMkLst>
        </pc:picChg>
        <pc:picChg chg="add del mod">
          <ac:chgData name="Takahito Komori" userId="7fd2de49-45b2-4181-a5c4-7be443c8d43b" providerId="ADAL" clId="{4F526E21-4110-4048-B563-7C1BDA38EFF4}" dt="2021-11-06T21:47:51.440" v="2811" actId="478"/>
          <ac:picMkLst>
            <pc:docMk/>
            <pc:sldMk cId="2651786787" sldId="3081"/>
            <ac:picMk id="10" creationId="{0461D99C-24CD-4C12-8DE3-A52790D99810}"/>
          </ac:picMkLst>
        </pc:picChg>
        <pc:picChg chg="add mod">
          <ac:chgData name="Takahito Komori" userId="7fd2de49-45b2-4181-a5c4-7be443c8d43b" providerId="ADAL" clId="{4F526E21-4110-4048-B563-7C1BDA38EFF4}" dt="2021-11-06T21:50:28.358" v="2963" actId="14100"/>
          <ac:picMkLst>
            <pc:docMk/>
            <pc:sldMk cId="2651786787" sldId="3081"/>
            <ac:picMk id="12" creationId="{F37DAAF4-BD80-49BF-A7D9-0E1C08A56CE6}"/>
          </ac:picMkLst>
        </pc:picChg>
        <pc:picChg chg="mod">
          <ac:chgData name="Takahito Komori" userId="7fd2de49-45b2-4181-a5c4-7be443c8d43b" providerId="ADAL" clId="{4F526E21-4110-4048-B563-7C1BDA38EFF4}" dt="2021-11-06T21:49:51.374" v="2959" actId="1076"/>
          <ac:picMkLst>
            <pc:docMk/>
            <pc:sldMk cId="2651786787" sldId="3081"/>
            <ac:picMk id="32" creationId="{EC234204-5BDA-45D1-8EB0-09B97C761877}"/>
          </ac:picMkLst>
        </pc:picChg>
      </pc:sldChg>
      <pc:sldChg chg="addSp delSp modSp del mod ord">
        <pc:chgData name="Takahito Komori" userId="7fd2de49-45b2-4181-a5c4-7be443c8d43b" providerId="ADAL" clId="{4F526E21-4110-4048-B563-7C1BDA38EFF4}" dt="2021-11-06T22:25:17.987" v="4355" actId="2696"/>
        <pc:sldMkLst>
          <pc:docMk/>
          <pc:sldMk cId="3421814768" sldId="11180"/>
        </pc:sldMkLst>
        <pc:spChg chg="mod">
          <ac:chgData name="Takahito Komori" userId="7fd2de49-45b2-4181-a5c4-7be443c8d43b" providerId="ADAL" clId="{4F526E21-4110-4048-B563-7C1BDA38EFF4}" dt="2021-11-06T22:20:42.889" v="4271" actId="948"/>
          <ac:spMkLst>
            <pc:docMk/>
            <pc:sldMk cId="3421814768" sldId="11180"/>
            <ac:spMk id="3" creationId="{65ABC733-E836-49B3-B273-FE2E25F1B445}"/>
          </ac:spMkLst>
        </pc:spChg>
        <pc:spChg chg="add del mod modVis">
          <ac:chgData name="Takahito Komori" userId="7fd2de49-45b2-4181-a5c4-7be443c8d43b" providerId="ADAL" clId="{4F526E21-4110-4048-B563-7C1BDA38EFF4}" dt="2021-11-06T20:20:10.502" v="383"/>
          <ac:spMkLst>
            <pc:docMk/>
            <pc:sldMk cId="3421814768" sldId="11180"/>
            <ac:spMk id="4" creationId="{08DEAD97-370A-4D94-BB47-FB50483B66AC}"/>
          </ac:spMkLst>
        </pc:spChg>
        <pc:spChg chg="add del mod modVis">
          <ac:chgData name="Takahito Komori" userId="7fd2de49-45b2-4181-a5c4-7be443c8d43b" providerId="ADAL" clId="{4F526E21-4110-4048-B563-7C1BDA38EFF4}" dt="2021-11-06T20:20:11.201" v="427"/>
          <ac:spMkLst>
            <pc:docMk/>
            <pc:sldMk cId="3421814768" sldId="11180"/>
            <ac:spMk id="5" creationId="{3656E3B4-74DE-4983-80FF-8E8D2D43D249}"/>
          </ac:spMkLst>
        </pc:spChg>
        <pc:spChg chg="add del mod modVis">
          <ac:chgData name="Takahito Komori" userId="7fd2de49-45b2-4181-a5c4-7be443c8d43b" providerId="ADAL" clId="{4F526E21-4110-4048-B563-7C1BDA38EFF4}" dt="2021-11-06T22:20:34.249" v="3991"/>
          <ac:spMkLst>
            <pc:docMk/>
            <pc:sldMk cId="3421814768" sldId="11180"/>
            <ac:spMk id="6" creationId="{25A1D08B-5E32-4A2F-83DE-E84A33A54297}"/>
          </ac:spMkLst>
        </pc:spChg>
        <pc:spChg chg="add del mod modVis">
          <ac:chgData name="Takahito Komori" userId="7fd2de49-45b2-4181-a5c4-7be443c8d43b" providerId="ADAL" clId="{4F526E21-4110-4048-B563-7C1BDA38EFF4}" dt="2021-11-06T22:20:35.469" v="4037"/>
          <ac:spMkLst>
            <pc:docMk/>
            <pc:sldMk cId="3421814768" sldId="11180"/>
            <ac:spMk id="7" creationId="{3A8FC287-B0BB-4605-A9BC-87B8F7B90A98}"/>
          </ac:spMkLst>
        </pc:spChg>
        <pc:spChg chg="add del mod modVis">
          <ac:chgData name="Takahito Komori" userId="7fd2de49-45b2-4181-a5c4-7be443c8d43b" providerId="ADAL" clId="{4F526E21-4110-4048-B563-7C1BDA38EFF4}" dt="2021-11-06T22:20:36.068" v="4081"/>
          <ac:spMkLst>
            <pc:docMk/>
            <pc:sldMk cId="3421814768" sldId="11180"/>
            <ac:spMk id="8" creationId="{02D081E1-79AB-44AF-A227-3FE67CEF91ED}"/>
          </ac:spMkLst>
        </pc:spChg>
        <pc:spChg chg="add del mod modVis">
          <ac:chgData name="Takahito Komori" userId="7fd2de49-45b2-4181-a5c4-7be443c8d43b" providerId="ADAL" clId="{4F526E21-4110-4048-B563-7C1BDA38EFF4}" dt="2021-11-06T22:20:36.838" v="4125"/>
          <ac:spMkLst>
            <pc:docMk/>
            <pc:sldMk cId="3421814768" sldId="11180"/>
            <ac:spMk id="9" creationId="{4F4D015E-53C6-4CB1-B881-96B73599F899}"/>
          </ac:spMkLst>
        </pc:spChg>
        <pc:spChg chg="add del mod modVis">
          <ac:chgData name="Takahito Komori" userId="7fd2de49-45b2-4181-a5c4-7be443c8d43b" providerId="ADAL" clId="{4F526E21-4110-4048-B563-7C1BDA38EFF4}" dt="2021-11-06T22:20:38.112" v="4172"/>
          <ac:spMkLst>
            <pc:docMk/>
            <pc:sldMk cId="3421814768" sldId="11180"/>
            <ac:spMk id="10" creationId="{2CC96679-847F-4807-8E68-58210EF0D573}"/>
          </ac:spMkLst>
        </pc:spChg>
        <pc:spChg chg="add del mod modVis">
          <ac:chgData name="Takahito Komori" userId="7fd2de49-45b2-4181-a5c4-7be443c8d43b" providerId="ADAL" clId="{4F526E21-4110-4048-B563-7C1BDA38EFF4}" dt="2021-11-06T22:20:39.344" v="4217"/>
          <ac:spMkLst>
            <pc:docMk/>
            <pc:sldMk cId="3421814768" sldId="11180"/>
            <ac:spMk id="11" creationId="{3C0AF81E-8B61-40B3-8A64-E151D977240C}"/>
          </ac:spMkLst>
        </pc:spChg>
        <pc:spChg chg="add del mod modVis">
          <ac:chgData name="Takahito Komori" userId="7fd2de49-45b2-4181-a5c4-7be443c8d43b" providerId="ADAL" clId="{4F526E21-4110-4048-B563-7C1BDA38EFF4}" dt="2021-11-06T22:20:41.175" v="4264"/>
          <ac:spMkLst>
            <pc:docMk/>
            <pc:sldMk cId="3421814768" sldId="11180"/>
            <ac:spMk id="12" creationId="{53B278E9-E622-4E72-A327-26BCB657B73D}"/>
          </ac:spMkLst>
        </pc:spChg>
        <pc:spChg chg="add del mod modVis">
          <ac:chgData name="Takahito Komori" userId="7fd2de49-45b2-4181-a5c4-7be443c8d43b" providerId="ADAL" clId="{4F526E21-4110-4048-B563-7C1BDA38EFF4}" dt="2021-11-06T22:20:42.936" v="4311"/>
          <ac:spMkLst>
            <pc:docMk/>
            <pc:sldMk cId="3421814768" sldId="11180"/>
            <ac:spMk id="13" creationId="{B72F3943-BEB8-47F7-87B9-8EB0ED324EF2}"/>
          </ac:spMkLst>
        </pc:spChg>
        <pc:spChg chg="mod">
          <ac:chgData name="Takahito Komori" userId="7fd2de49-45b2-4181-a5c4-7be443c8d43b" providerId="ADAL" clId="{4F526E21-4110-4048-B563-7C1BDA38EFF4}" dt="2021-11-06T22:21:17.468" v="4315" actId="1076"/>
          <ac:spMkLst>
            <pc:docMk/>
            <pc:sldMk cId="3421814768" sldId="11180"/>
            <ac:spMk id="18" creationId="{9B11E4D8-9B55-424F-8681-758F550CA5CB}"/>
          </ac:spMkLst>
        </pc:spChg>
        <pc:spChg chg="del mod">
          <ac:chgData name="Takahito Komori" userId="7fd2de49-45b2-4181-a5c4-7be443c8d43b" providerId="ADAL" clId="{4F526E21-4110-4048-B563-7C1BDA38EFF4}" dt="2021-11-06T22:21:45.056" v="4326" actId="478"/>
          <ac:spMkLst>
            <pc:docMk/>
            <pc:sldMk cId="3421814768" sldId="11180"/>
            <ac:spMk id="30" creationId="{EE0EDE5F-EB29-43B7-9798-05FF0BDCB666}"/>
          </ac:spMkLst>
        </pc:spChg>
        <pc:spChg chg="del mod">
          <ac:chgData name="Takahito Komori" userId="7fd2de49-45b2-4181-a5c4-7be443c8d43b" providerId="ADAL" clId="{4F526E21-4110-4048-B563-7C1BDA38EFF4}" dt="2021-11-06T22:21:35.625" v="4322" actId="478"/>
          <ac:spMkLst>
            <pc:docMk/>
            <pc:sldMk cId="3421814768" sldId="11180"/>
            <ac:spMk id="33" creationId="{9FC3B00F-EB4C-43A7-AC4B-1F15469CCAC7}"/>
          </ac:spMkLst>
        </pc:spChg>
        <pc:spChg chg="del mod">
          <ac:chgData name="Takahito Komori" userId="7fd2de49-45b2-4181-a5c4-7be443c8d43b" providerId="ADAL" clId="{4F526E21-4110-4048-B563-7C1BDA38EFF4}" dt="2021-11-06T22:21:35.625" v="4322" actId="478"/>
          <ac:spMkLst>
            <pc:docMk/>
            <pc:sldMk cId="3421814768" sldId="11180"/>
            <ac:spMk id="34" creationId="{0B9C8598-7580-4C94-8E8B-99FF40B4550B}"/>
          </ac:spMkLst>
        </pc:spChg>
        <pc:spChg chg="del mod">
          <ac:chgData name="Takahito Komori" userId="7fd2de49-45b2-4181-a5c4-7be443c8d43b" providerId="ADAL" clId="{4F526E21-4110-4048-B563-7C1BDA38EFF4}" dt="2021-11-06T22:21:35.625" v="4322" actId="478"/>
          <ac:spMkLst>
            <pc:docMk/>
            <pc:sldMk cId="3421814768" sldId="11180"/>
            <ac:spMk id="35" creationId="{F1445B36-6E1D-41DC-A616-8D761C752C15}"/>
          </ac:spMkLst>
        </pc:spChg>
        <pc:spChg chg="del mod">
          <ac:chgData name="Takahito Komori" userId="7fd2de49-45b2-4181-a5c4-7be443c8d43b" providerId="ADAL" clId="{4F526E21-4110-4048-B563-7C1BDA38EFF4}" dt="2021-11-06T22:21:35.625" v="4322" actId="478"/>
          <ac:spMkLst>
            <pc:docMk/>
            <pc:sldMk cId="3421814768" sldId="11180"/>
            <ac:spMk id="36" creationId="{25DC8F45-14CB-4E17-A9BC-90231ABABBCF}"/>
          </ac:spMkLst>
        </pc:spChg>
        <pc:spChg chg="del mod">
          <ac:chgData name="Takahito Komori" userId="7fd2de49-45b2-4181-a5c4-7be443c8d43b" providerId="ADAL" clId="{4F526E21-4110-4048-B563-7C1BDA38EFF4}" dt="2021-11-06T22:21:35.625" v="4322" actId="478"/>
          <ac:spMkLst>
            <pc:docMk/>
            <pc:sldMk cId="3421814768" sldId="11180"/>
            <ac:spMk id="37" creationId="{6839122E-B90A-4FEB-9CAA-11D958CF0AF1}"/>
          </ac:spMkLst>
        </pc:spChg>
        <pc:spChg chg="del mod">
          <ac:chgData name="Takahito Komori" userId="7fd2de49-45b2-4181-a5c4-7be443c8d43b" providerId="ADAL" clId="{4F526E21-4110-4048-B563-7C1BDA38EFF4}" dt="2021-11-06T22:21:35.625" v="4322" actId="478"/>
          <ac:spMkLst>
            <pc:docMk/>
            <pc:sldMk cId="3421814768" sldId="11180"/>
            <ac:spMk id="38" creationId="{E704A06C-AD4E-42AB-A065-C45F294ED300}"/>
          </ac:spMkLst>
        </pc:spChg>
        <pc:spChg chg="del mod">
          <ac:chgData name="Takahito Komori" userId="7fd2de49-45b2-4181-a5c4-7be443c8d43b" providerId="ADAL" clId="{4F526E21-4110-4048-B563-7C1BDA38EFF4}" dt="2021-11-06T22:21:35.625" v="4322" actId="478"/>
          <ac:spMkLst>
            <pc:docMk/>
            <pc:sldMk cId="3421814768" sldId="11180"/>
            <ac:spMk id="39" creationId="{FF20E1B9-39EF-40ED-BE59-3D14A3CD4471}"/>
          </ac:spMkLst>
        </pc:spChg>
        <pc:spChg chg="del mod">
          <ac:chgData name="Takahito Komori" userId="7fd2de49-45b2-4181-a5c4-7be443c8d43b" providerId="ADAL" clId="{4F526E21-4110-4048-B563-7C1BDA38EFF4}" dt="2021-11-06T22:21:35.625" v="4322" actId="478"/>
          <ac:spMkLst>
            <pc:docMk/>
            <pc:sldMk cId="3421814768" sldId="11180"/>
            <ac:spMk id="42" creationId="{0F5DA66F-7F36-4D0E-8AB1-EC11ABD8AFF1}"/>
          </ac:spMkLst>
        </pc:spChg>
        <pc:spChg chg="del mod">
          <ac:chgData name="Takahito Komori" userId="7fd2de49-45b2-4181-a5c4-7be443c8d43b" providerId="ADAL" clId="{4F526E21-4110-4048-B563-7C1BDA38EFF4}" dt="2021-11-06T22:21:35.625" v="4322" actId="478"/>
          <ac:spMkLst>
            <pc:docMk/>
            <pc:sldMk cId="3421814768" sldId="11180"/>
            <ac:spMk id="48" creationId="{710B9C97-55FD-4A89-BE54-2EF512344653}"/>
          </ac:spMkLst>
        </pc:spChg>
        <pc:spChg chg="del mod">
          <ac:chgData name="Takahito Komori" userId="7fd2de49-45b2-4181-a5c4-7be443c8d43b" providerId="ADAL" clId="{4F526E21-4110-4048-B563-7C1BDA38EFF4}" dt="2021-11-06T22:21:56.611" v="4328" actId="478"/>
          <ac:spMkLst>
            <pc:docMk/>
            <pc:sldMk cId="3421814768" sldId="11180"/>
            <ac:spMk id="62" creationId="{48CC33D0-E742-495B-B208-02DAC0950245}"/>
          </ac:spMkLst>
        </pc:spChg>
        <pc:spChg chg="del">
          <ac:chgData name="Takahito Komori" userId="7fd2de49-45b2-4181-a5c4-7be443c8d43b" providerId="ADAL" clId="{4F526E21-4110-4048-B563-7C1BDA38EFF4}" dt="2021-11-06T22:22:02.836" v="4329" actId="478"/>
          <ac:spMkLst>
            <pc:docMk/>
            <pc:sldMk cId="3421814768" sldId="11180"/>
            <ac:spMk id="65" creationId="{D561B408-7B26-4346-BB98-272FBE234B2B}"/>
          </ac:spMkLst>
        </pc:spChg>
        <pc:spChg chg="del">
          <ac:chgData name="Takahito Komori" userId="7fd2de49-45b2-4181-a5c4-7be443c8d43b" providerId="ADAL" clId="{4F526E21-4110-4048-B563-7C1BDA38EFF4}" dt="2021-11-06T22:21:56.611" v="4328" actId="478"/>
          <ac:spMkLst>
            <pc:docMk/>
            <pc:sldMk cId="3421814768" sldId="11180"/>
            <ac:spMk id="66" creationId="{883BEA6B-2898-4CED-A8EB-3D38E2FED0FA}"/>
          </ac:spMkLst>
        </pc:spChg>
        <pc:spChg chg="del mod">
          <ac:chgData name="Takahito Komori" userId="7fd2de49-45b2-4181-a5c4-7be443c8d43b" providerId="ADAL" clId="{4F526E21-4110-4048-B563-7C1BDA38EFF4}" dt="2021-11-06T22:21:35.625" v="4322" actId="478"/>
          <ac:spMkLst>
            <pc:docMk/>
            <pc:sldMk cId="3421814768" sldId="11180"/>
            <ac:spMk id="68" creationId="{1A6F6847-F235-4F39-A9F6-73EB6A85B408}"/>
          </ac:spMkLst>
        </pc:spChg>
        <pc:spChg chg="del mod">
          <ac:chgData name="Takahito Komori" userId="7fd2de49-45b2-4181-a5c4-7be443c8d43b" providerId="ADAL" clId="{4F526E21-4110-4048-B563-7C1BDA38EFF4}" dt="2021-11-06T22:21:35.625" v="4322" actId="478"/>
          <ac:spMkLst>
            <pc:docMk/>
            <pc:sldMk cId="3421814768" sldId="11180"/>
            <ac:spMk id="69" creationId="{D0651A57-1D89-4E91-BE6A-6579D3C8993C}"/>
          </ac:spMkLst>
        </pc:spChg>
        <pc:spChg chg="del mod">
          <ac:chgData name="Takahito Komori" userId="7fd2de49-45b2-4181-a5c4-7be443c8d43b" providerId="ADAL" clId="{4F526E21-4110-4048-B563-7C1BDA38EFF4}" dt="2021-11-06T22:21:35.625" v="4322" actId="478"/>
          <ac:spMkLst>
            <pc:docMk/>
            <pc:sldMk cId="3421814768" sldId="11180"/>
            <ac:spMk id="70" creationId="{D8A2DBC9-45D6-4776-9986-E6BBF82FD382}"/>
          </ac:spMkLst>
        </pc:spChg>
        <pc:spChg chg="del">
          <ac:chgData name="Takahito Komori" userId="7fd2de49-45b2-4181-a5c4-7be443c8d43b" providerId="ADAL" clId="{4F526E21-4110-4048-B563-7C1BDA38EFF4}" dt="2021-11-06T22:21:35.625" v="4322" actId="478"/>
          <ac:spMkLst>
            <pc:docMk/>
            <pc:sldMk cId="3421814768" sldId="11180"/>
            <ac:spMk id="71" creationId="{BF080C09-CD57-4139-9DD3-C6B215028262}"/>
          </ac:spMkLst>
        </pc:spChg>
        <pc:graphicFrameChg chg="mod">
          <ac:chgData name="Takahito Komori" userId="7fd2de49-45b2-4181-a5c4-7be443c8d43b" providerId="ADAL" clId="{4F526E21-4110-4048-B563-7C1BDA38EFF4}" dt="2021-11-06T22:20:42.938" v="4313"/>
          <ac:graphicFrameMkLst>
            <pc:docMk/>
            <pc:sldMk cId="3421814768" sldId="11180"/>
            <ac:graphicFrameMk id="2" creationId="{F8299231-9B40-4D6D-892C-81A7AB8FB74B}"/>
          </ac:graphicFrameMkLst>
        </pc:graphicFrameChg>
        <pc:picChg chg="add del mod">
          <ac:chgData name="Takahito Komori" userId="7fd2de49-45b2-4181-a5c4-7be443c8d43b" providerId="ADAL" clId="{4F526E21-4110-4048-B563-7C1BDA38EFF4}" dt="2021-11-06T22:23:28.094" v="4343" actId="21"/>
          <ac:picMkLst>
            <pc:docMk/>
            <pc:sldMk cId="3421814768" sldId="11180"/>
            <ac:picMk id="23" creationId="{96A03A4B-A406-419C-896D-76BE37F68225}"/>
          </ac:picMkLst>
        </pc:picChg>
        <pc:picChg chg="add del mod">
          <ac:chgData name="Takahito Komori" userId="7fd2de49-45b2-4181-a5c4-7be443c8d43b" providerId="ADAL" clId="{4F526E21-4110-4048-B563-7C1BDA38EFF4}" dt="2021-11-06T22:23:28.094" v="4343" actId="21"/>
          <ac:picMkLst>
            <pc:docMk/>
            <pc:sldMk cId="3421814768" sldId="11180"/>
            <ac:picMk id="25" creationId="{1D7B6881-D1BA-4BC7-9C1D-7A3AE212D709}"/>
          </ac:picMkLst>
        </pc:picChg>
        <pc:picChg chg="del">
          <ac:chgData name="Takahito Komori" userId="7fd2de49-45b2-4181-a5c4-7be443c8d43b" providerId="ADAL" clId="{4F526E21-4110-4048-B563-7C1BDA38EFF4}" dt="2021-11-06T22:21:39.318" v="4323" actId="478"/>
          <ac:picMkLst>
            <pc:docMk/>
            <pc:sldMk cId="3421814768" sldId="11180"/>
            <ac:picMk id="67" creationId="{31A28D2A-F96C-45EB-A125-5ED49373D124}"/>
          </ac:picMkLst>
        </pc:picChg>
        <pc:cxnChg chg="del mod">
          <ac:chgData name="Takahito Komori" userId="7fd2de49-45b2-4181-a5c4-7be443c8d43b" providerId="ADAL" clId="{4F526E21-4110-4048-B563-7C1BDA38EFF4}" dt="2021-11-06T22:21:56.611" v="4328" actId="478"/>
          <ac:cxnSpMkLst>
            <pc:docMk/>
            <pc:sldMk cId="3421814768" sldId="11180"/>
            <ac:cxnSpMk id="31" creationId="{AE20E10F-3E50-4E12-8845-793BF8EB4B95}"/>
          </ac:cxnSpMkLst>
        </pc:cxnChg>
        <pc:cxnChg chg="del mod">
          <ac:chgData name="Takahito Komori" userId="7fd2de49-45b2-4181-a5c4-7be443c8d43b" providerId="ADAL" clId="{4F526E21-4110-4048-B563-7C1BDA38EFF4}" dt="2021-11-06T22:21:56.611" v="4328" actId="478"/>
          <ac:cxnSpMkLst>
            <pc:docMk/>
            <pc:sldMk cId="3421814768" sldId="11180"/>
            <ac:cxnSpMk id="55" creationId="{F2AEE381-8D69-40CB-8BBE-84BD1402117A}"/>
          </ac:cxnSpMkLst>
        </pc:cxnChg>
        <pc:cxnChg chg="del mod">
          <ac:chgData name="Takahito Komori" userId="7fd2de49-45b2-4181-a5c4-7be443c8d43b" providerId="ADAL" clId="{4F526E21-4110-4048-B563-7C1BDA38EFF4}" dt="2021-11-06T22:21:56.611" v="4328" actId="478"/>
          <ac:cxnSpMkLst>
            <pc:docMk/>
            <pc:sldMk cId="3421814768" sldId="11180"/>
            <ac:cxnSpMk id="59" creationId="{E7C10804-9950-4102-A04E-6E45F02E131F}"/>
          </ac:cxnSpMkLst>
        </pc:cxnChg>
        <pc:cxnChg chg="del">
          <ac:chgData name="Takahito Komori" userId="7fd2de49-45b2-4181-a5c4-7be443c8d43b" providerId="ADAL" clId="{4F526E21-4110-4048-B563-7C1BDA38EFF4}" dt="2021-11-06T22:21:56.611" v="4328" actId="478"/>
          <ac:cxnSpMkLst>
            <pc:docMk/>
            <pc:sldMk cId="3421814768" sldId="11180"/>
            <ac:cxnSpMk id="60" creationId="{E96F203D-8E92-4A5D-A30A-96F3EEA621C4}"/>
          </ac:cxnSpMkLst>
        </pc:cxnChg>
        <pc:cxnChg chg="del">
          <ac:chgData name="Takahito Komori" userId="7fd2de49-45b2-4181-a5c4-7be443c8d43b" providerId="ADAL" clId="{4F526E21-4110-4048-B563-7C1BDA38EFF4}" dt="2021-11-06T22:21:56.611" v="4328" actId="478"/>
          <ac:cxnSpMkLst>
            <pc:docMk/>
            <pc:sldMk cId="3421814768" sldId="11180"/>
            <ac:cxnSpMk id="61" creationId="{22ABE60F-09FA-4C49-8DBD-86ABB2A35A9F}"/>
          </ac:cxnSpMkLst>
        </pc:cxnChg>
      </pc:sldChg>
      <pc:sldChg chg="modSp mod">
        <pc:chgData name="Takahito Komori" userId="7fd2de49-45b2-4181-a5c4-7be443c8d43b" providerId="ADAL" clId="{4F526E21-4110-4048-B563-7C1BDA38EFF4}" dt="2021-11-08T01:31:47.462" v="5086" actId="20577"/>
        <pc:sldMkLst>
          <pc:docMk/>
          <pc:sldMk cId="1734690358" sldId="11423"/>
        </pc:sldMkLst>
        <pc:spChg chg="mod">
          <ac:chgData name="Takahito Komori" userId="7fd2de49-45b2-4181-a5c4-7be443c8d43b" providerId="ADAL" clId="{4F526E21-4110-4048-B563-7C1BDA38EFF4}" dt="2021-11-08T01:31:47.462" v="5086" actId="20577"/>
          <ac:spMkLst>
            <pc:docMk/>
            <pc:sldMk cId="1734690358" sldId="11423"/>
            <ac:spMk id="5" creationId="{8C5620B7-4364-064A-9629-71F680B133B6}"/>
          </ac:spMkLst>
        </pc:spChg>
      </pc:sldChg>
      <pc:sldChg chg="modSp mod">
        <pc:chgData name="Takahito Komori" userId="7fd2de49-45b2-4181-a5c4-7be443c8d43b" providerId="ADAL" clId="{4F526E21-4110-4048-B563-7C1BDA38EFF4}" dt="2021-11-06T20:17:18.365" v="215" actId="20577"/>
        <pc:sldMkLst>
          <pc:docMk/>
          <pc:sldMk cId="720737956" sldId="11425"/>
        </pc:sldMkLst>
        <pc:spChg chg="mod">
          <ac:chgData name="Takahito Komori" userId="7fd2de49-45b2-4181-a5c4-7be443c8d43b" providerId="ADAL" clId="{4F526E21-4110-4048-B563-7C1BDA38EFF4}" dt="2021-11-06T20:17:18.365" v="215" actId="20577"/>
          <ac:spMkLst>
            <pc:docMk/>
            <pc:sldMk cId="720737956" sldId="11425"/>
            <ac:spMk id="3" creationId="{CE74A6F0-6B45-4B09-B638-5C7D343256FB}"/>
          </ac:spMkLst>
        </pc:spChg>
        <pc:spChg chg="mod">
          <ac:chgData name="Takahito Komori" userId="7fd2de49-45b2-4181-a5c4-7be443c8d43b" providerId="ADAL" clId="{4F526E21-4110-4048-B563-7C1BDA38EFF4}" dt="2021-11-06T20:17:05.102" v="199" actId="1035"/>
          <ac:spMkLst>
            <pc:docMk/>
            <pc:sldMk cId="720737956" sldId="11425"/>
            <ac:spMk id="4" creationId="{4B192654-860C-4BAC-A7C9-47FBBD996C14}"/>
          </ac:spMkLst>
        </pc:spChg>
        <pc:spChg chg="mod">
          <ac:chgData name="Takahito Komori" userId="7fd2de49-45b2-4181-a5c4-7be443c8d43b" providerId="ADAL" clId="{4F526E21-4110-4048-B563-7C1BDA38EFF4}" dt="2021-11-06T20:17:05.102" v="199" actId="1035"/>
          <ac:spMkLst>
            <pc:docMk/>
            <pc:sldMk cId="720737956" sldId="11425"/>
            <ac:spMk id="5" creationId="{7F96188F-84A3-4A13-A927-4C08ECB1C691}"/>
          </ac:spMkLst>
        </pc:spChg>
        <pc:picChg chg="mod">
          <ac:chgData name="Takahito Komori" userId="7fd2de49-45b2-4181-a5c4-7be443c8d43b" providerId="ADAL" clId="{4F526E21-4110-4048-B563-7C1BDA38EFF4}" dt="2021-11-06T20:16:52.282" v="171" actId="1076"/>
          <ac:picMkLst>
            <pc:docMk/>
            <pc:sldMk cId="720737956" sldId="11425"/>
            <ac:picMk id="2" creationId="{F484C9A9-6C5B-4295-A2E2-3663960187F1}"/>
          </ac:picMkLst>
        </pc:picChg>
      </pc:sldChg>
      <pc:sldChg chg="addSp delSp modSp mod">
        <pc:chgData name="Takahito Komori" userId="7fd2de49-45b2-4181-a5c4-7be443c8d43b" providerId="ADAL" clId="{4F526E21-4110-4048-B563-7C1BDA38EFF4}" dt="2021-11-06T22:29:44.164" v="4453" actId="20577"/>
        <pc:sldMkLst>
          <pc:docMk/>
          <pc:sldMk cId="2727697734" sldId="11447"/>
        </pc:sldMkLst>
        <pc:spChg chg="add del mod modVis">
          <ac:chgData name="Takahito Komori" userId="7fd2de49-45b2-4181-a5c4-7be443c8d43b" providerId="ADAL" clId="{4F526E21-4110-4048-B563-7C1BDA38EFF4}" dt="2021-11-06T20:20:16.782" v="471"/>
          <ac:spMkLst>
            <pc:docMk/>
            <pc:sldMk cId="2727697734" sldId="11447"/>
            <ac:spMk id="4" creationId="{5AD2F074-0D8D-4FB7-AEE7-1103509321A5}"/>
          </ac:spMkLst>
        </pc:spChg>
        <pc:spChg chg="add del mod modVis">
          <ac:chgData name="Takahito Komori" userId="7fd2de49-45b2-4181-a5c4-7be443c8d43b" providerId="ADAL" clId="{4F526E21-4110-4048-B563-7C1BDA38EFF4}" dt="2021-11-06T20:20:17.738" v="515"/>
          <ac:spMkLst>
            <pc:docMk/>
            <pc:sldMk cId="2727697734" sldId="11447"/>
            <ac:spMk id="5" creationId="{FDA6F7BB-9788-4363-A485-F3D161429510}"/>
          </ac:spMkLst>
        </pc:spChg>
        <pc:spChg chg="mod topLvl">
          <ac:chgData name="Takahito Komori" userId="7fd2de49-45b2-4181-a5c4-7be443c8d43b" providerId="ADAL" clId="{4F526E21-4110-4048-B563-7C1BDA38EFF4}" dt="2021-11-06T22:29:09.477" v="4435"/>
          <ac:spMkLst>
            <pc:docMk/>
            <pc:sldMk cId="2727697734" sldId="11447"/>
            <ac:spMk id="48" creationId="{ECB3951E-4EE3-43D7-A0FF-11A4FDD670D4}"/>
          </ac:spMkLst>
        </pc:spChg>
        <pc:spChg chg="mod">
          <ac:chgData name="Takahito Komori" userId="7fd2de49-45b2-4181-a5c4-7be443c8d43b" providerId="ADAL" clId="{4F526E21-4110-4048-B563-7C1BDA38EFF4}" dt="2021-11-06T20:20:17.606" v="475" actId="948"/>
          <ac:spMkLst>
            <pc:docMk/>
            <pc:sldMk cId="2727697734" sldId="11447"/>
            <ac:spMk id="98" creationId="{DE615B99-7C9C-4DC5-A7A5-CC775BD6985B}"/>
          </ac:spMkLst>
        </pc:spChg>
        <pc:spChg chg="mod">
          <ac:chgData name="Takahito Komori" userId="7fd2de49-45b2-4181-a5c4-7be443c8d43b" providerId="ADAL" clId="{4F526E21-4110-4048-B563-7C1BDA38EFF4}" dt="2021-11-06T22:29:44.164" v="4453" actId="20577"/>
          <ac:spMkLst>
            <pc:docMk/>
            <pc:sldMk cId="2727697734" sldId="11447"/>
            <ac:spMk id="113" creationId="{FF9A60BE-4505-4D78-A3E8-3E825CF2848F}"/>
          </ac:spMkLst>
        </pc:spChg>
        <pc:spChg chg="mod topLvl">
          <ac:chgData name="Takahito Komori" userId="7fd2de49-45b2-4181-a5c4-7be443c8d43b" providerId="ADAL" clId="{4F526E21-4110-4048-B563-7C1BDA38EFF4}" dt="2021-11-06T22:25:51.881" v="4359"/>
          <ac:spMkLst>
            <pc:docMk/>
            <pc:sldMk cId="2727697734" sldId="11447"/>
            <ac:spMk id="115" creationId="{5C97DFB9-67DA-41F9-9F89-483D41D1C2FE}"/>
          </ac:spMkLst>
        </pc:spChg>
        <pc:spChg chg="mod topLvl">
          <ac:chgData name="Takahito Komori" userId="7fd2de49-45b2-4181-a5c4-7be443c8d43b" providerId="ADAL" clId="{4F526E21-4110-4048-B563-7C1BDA38EFF4}" dt="2021-11-06T22:25:51.884" v="4361"/>
          <ac:spMkLst>
            <pc:docMk/>
            <pc:sldMk cId="2727697734" sldId="11447"/>
            <ac:spMk id="116" creationId="{E269F599-F015-4DC8-86E4-0F1FEA3B1BE3}"/>
          </ac:spMkLst>
        </pc:spChg>
        <pc:spChg chg="mod topLvl">
          <ac:chgData name="Takahito Komori" userId="7fd2de49-45b2-4181-a5c4-7be443c8d43b" providerId="ADAL" clId="{4F526E21-4110-4048-B563-7C1BDA38EFF4}" dt="2021-11-06T22:25:51.883" v="4360"/>
          <ac:spMkLst>
            <pc:docMk/>
            <pc:sldMk cId="2727697734" sldId="11447"/>
            <ac:spMk id="117" creationId="{DA0A211C-53D6-41CD-ADFE-87F5006DD305}"/>
          </ac:spMkLst>
        </pc:spChg>
        <pc:spChg chg="del mod">
          <ac:chgData name="Takahito Komori" userId="7fd2de49-45b2-4181-a5c4-7be443c8d43b" providerId="ADAL" clId="{4F526E21-4110-4048-B563-7C1BDA38EFF4}" dt="2021-11-06T22:25:44.036" v="4358" actId="478"/>
          <ac:spMkLst>
            <pc:docMk/>
            <pc:sldMk cId="2727697734" sldId="11447"/>
            <ac:spMk id="118" creationId="{816AB5D0-2A73-4A40-ADD0-2529C156A591}"/>
          </ac:spMkLst>
        </pc:spChg>
        <pc:spChg chg="del mod topLvl">
          <ac:chgData name="Takahito Komori" userId="7fd2de49-45b2-4181-a5c4-7be443c8d43b" providerId="ADAL" clId="{4F526E21-4110-4048-B563-7C1BDA38EFF4}" dt="2021-11-06T22:25:44.036" v="4358" actId="478"/>
          <ac:spMkLst>
            <pc:docMk/>
            <pc:sldMk cId="2727697734" sldId="11447"/>
            <ac:spMk id="120" creationId="{9D2A9605-C5B0-4B63-9DFF-4969807EE3D2}"/>
          </ac:spMkLst>
        </pc:spChg>
        <pc:spChg chg="del mod topLvl">
          <ac:chgData name="Takahito Komori" userId="7fd2de49-45b2-4181-a5c4-7be443c8d43b" providerId="ADAL" clId="{4F526E21-4110-4048-B563-7C1BDA38EFF4}" dt="2021-11-06T22:25:44.036" v="4358" actId="478"/>
          <ac:spMkLst>
            <pc:docMk/>
            <pc:sldMk cId="2727697734" sldId="11447"/>
            <ac:spMk id="121" creationId="{98596D6B-1332-41F1-A27D-8F44A61A4A88}"/>
          </ac:spMkLst>
        </pc:spChg>
        <pc:spChg chg="del mod topLvl">
          <ac:chgData name="Takahito Komori" userId="7fd2de49-45b2-4181-a5c4-7be443c8d43b" providerId="ADAL" clId="{4F526E21-4110-4048-B563-7C1BDA38EFF4}" dt="2021-11-06T22:25:44.036" v="4358" actId="478"/>
          <ac:spMkLst>
            <pc:docMk/>
            <pc:sldMk cId="2727697734" sldId="11447"/>
            <ac:spMk id="122" creationId="{98AA0008-B834-4489-83C3-C5D929C90117}"/>
          </ac:spMkLst>
        </pc:spChg>
        <pc:spChg chg="mod topLvl">
          <ac:chgData name="Takahito Komori" userId="7fd2de49-45b2-4181-a5c4-7be443c8d43b" providerId="ADAL" clId="{4F526E21-4110-4048-B563-7C1BDA38EFF4}" dt="2021-11-06T22:27:33.552" v="4417" actId="14100"/>
          <ac:spMkLst>
            <pc:docMk/>
            <pc:sldMk cId="2727697734" sldId="11447"/>
            <ac:spMk id="123" creationId="{992002D5-E9D1-4F4F-9C17-6C3E890A9B1A}"/>
          </ac:spMkLst>
        </pc:spChg>
        <pc:spChg chg="mod topLvl">
          <ac:chgData name="Takahito Komori" userId="7fd2de49-45b2-4181-a5c4-7be443c8d43b" providerId="ADAL" clId="{4F526E21-4110-4048-B563-7C1BDA38EFF4}" dt="2021-11-06T22:27:45.909" v="4419"/>
          <ac:spMkLst>
            <pc:docMk/>
            <pc:sldMk cId="2727697734" sldId="11447"/>
            <ac:spMk id="124" creationId="{3BA8D3FF-035C-4D92-A2D7-64AFB99FB156}"/>
          </ac:spMkLst>
        </pc:spChg>
        <pc:spChg chg="mod topLvl">
          <ac:chgData name="Takahito Komori" userId="7fd2de49-45b2-4181-a5c4-7be443c8d43b" providerId="ADAL" clId="{4F526E21-4110-4048-B563-7C1BDA38EFF4}" dt="2021-11-06T22:29:29.549" v="4436"/>
          <ac:spMkLst>
            <pc:docMk/>
            <pc:sldMk cId="2727697734" sldId="11447"/>
            <ac:spMk id="125" creationId="{C933D178-3B7E-4D54-9B16-46CA7C66FEF3}"/>
          </ac:spMkLst>
        </pc:spChg>
        <pc:grpChg chg="del mod">
          <ac:chgData name="Takahito Komori" userId="7fd2de49-45b2-4181-a5c4-7be443c8d43b" providerId="ADAL" clId="{4F526E21-4110-4048-B563-7C1BDA38EFF4}" dt="2021-11-06T22:25:37.237" v="4357" actId="165"/>
          <ac:grpSpMkLst>
            <pc:docMk/>
            <pc:sldMk cId="2727697734" sldId="11447"/>
            <ac:grpSpMk id="3" creationId="{195CBC4A-24BD-417C-B8B0-DB2810A7BBB8}"/>
          </ac:grpSpMkLst>
        </pc:grpChg>
        <pc:graphicFrameChg chg="mod">
          <ac:chgData name="Takahito Komori" userId="7fd2de49-45b2-4181-a5c4-7be443c8d43b" providerId="ADAL" clId="{4F526E21-4110-4048-B563-7C1BDA38EFF4}" dt="2021-11-06T20:20:17.747" v="517"/>
          <ac:graphicFrameMkLst>
            <pc:docMk/>
            <pc:sldMk cId="2727697734" sldId="11447"/>
            <ac:graphicFrameMk id="52" creationId="{8605731E-ADAE-4845-B30F-615307EA1CDB}"/>
          </ac:graphicFrameMkLst>
        </pc:graphicFrameChg>
        <pc:cxnChg chg="mod topLvl">
          <ac:chgData name="Takahito Komori" userId="7fd2de49-45b2-4181-a5c4-7be443c8d43b" providerId="ADAL" clId="{4F526E21-4110-4048-B563-7C1BDA38EFF4}" dt="2021-11-06T22:28:21.925" v="4432"/>
          <ac:cxnSpMkLst>
            <pc:docMk/>
            <pc:sldMk cId="2727697734" sldId="11447"/>
            <ac:cxnSpMk id="44" creationId="{19E42DE7-B3E2-4310-89E4-CFF04C958A64}"/>
          </ac:cxnSpMkLst>
        </pc:cxnChg>
        <pc:cxnChg chg="mod topLvl">
          <ac:chgData name="Takahito Komori" userId="7fd2de49-45b2-4181-a5c4-7be443c8d43b" providerId="ADAL" clId="{4F526E21-4110-4048-B563-7C1BDA38EFF4}" dt="2021-11-06T22:28:21.925" v="4432"/>
          <ac:cxnSpMkLst>
            <pc:docMk/>
            <pc:sldMk cId="2727697734" sldId="11447"/>
            <ac:cxnSpMk id="45" creationId="{BAD127DA-6BB9-444C-A6A9-9DF260938E63}"/>
          </ac:cxnSpMkLst>
        </pc:cxnChg>
        <pc:cxnChg chg="mod topLvl">
          <ac:chgData name="Takahito Komori" userId="7fd2de49-45b2-4181-a5c4-7be443c8d43b" providerId="ADAL" clId="{4F526E21-4110-4048-B563-7C1BDA38EFF4}" dt="2021-11-06T22:28:21.925" v="4432"/>
          <ac:cxnSpMkLst>
            <pc:docMk/>
            <pc:sldMk cId="2727697734" sldId="11447"/>
            <ac:cxnSpMk id="46" creationId="{58120E0B-D664-4382-92AA-AC0DE5672B6C}"/>
          </ac:cxnSpMkLst>
        </pc:cxnChg>
        <pc:cxnChg chg="mod topLvl">
          <ac:chgData name="Takahito Komori" userId="7fd2de49-45b2-4181-a5c4-7be443c8d43b" providerId="ADAL" clId="{4F526E21-4110-4048-B563-7C1BDA38EFF4}" dt="2021-11-06T22:25:37.237" v="4357" actId="165"/>
          <ac:cxnSpMkLst>
            <pc:docMk/>
            <pc:sldMk cId="2727697734" sldId="11447"/>
            <ac:cxnSpMk id="126" creationId="{B9785018-D20B-4558-937E-AF2A1BDAB3A9}"/>
          </ac:cxnSpMkLst>
        </pc:cxnChg>
        <pc:cxnChg chg="mod topLvl">
          <ac:chgData name="Takahito Komori" userId="7fd2de49-45b2-4181-a5c4-7be443c8d43b" providerId="ADAL" clId="{4F526E21-4110-4048-B563-7C1BDA38EFF4}" dt="2021-11-06T22:25:37.237" v="4357" actId="165"/>
          <ac:cxnSpMkLst>
            <pc:docMk/>
            <pc:sldMk cId="2727697734" sldId="11447"/>
            <ac:cxnSpMk id="127" creationId="{A2F5D8A0-C677-4959-B85F-D03B4319E896}"/>
          </ac:cxnSpMkLst>
        </pc:cxnChg>
      </pc:sldChg>
      <pc:sldChg chg="addSp delSp modSp mod">
        <pc:chgData name="Takahito Komori" userId="7fd2de49-45b2-4181-a5c4-7be443c8d43b" providerId="ADAL" clId="{4F526E21-4110-4048-B563-7C1BDA38EFF4}" dt="2021-11-07T22:41:15.067" v="5068" actId="404"/>
        <pc:sldMkLst>
          <pc:docMk/>
          <pc:sldMk cId="3814912581" sldId="11588"/>
        </pc:sldMkLst>
        <pc:spChg chg="mod">
          <ac:chgData name="Takahito Komori" userId="7fd2de49-45b2-4181-a5c4-7be443c8d43b" providerId="ADAL" clId="{4F526E21-4110-4048-B563-7C1BDA38EFF4}" dt="2021-11-06T22:02:25.481" v="3460" actId="948"/>
          <ac:spMkLst>
            <pc:docMk/>
            <pc:sldMk cId="3814912581" sldId="11588"/>
            <ac:spMk id="3" creationId="{9F09518B-041E-4096-8711-DB9BBC2C4069}"/>
          </ac:spMkLst>
        </pc:spChg>
        <pc:spChg chg="add del mod modVis">
          <ac:chgData name="Takahito Komori" userId="7fd2de49-45b2-4181-a5c4-7be443c8d43b" providerId="ADAL" clId="{4F526E21-4110-4048-B563-7C1BDA38EFF4}" dt="2021-11-06T21:24:02.114" v="1974"/>
          <ac:spMkLst>
            <pc:docMk/>
            <pc:sldMk cId="3814912581" sldId="11588"/>
            <ac:spMk id="4" creationId="{34F18744-B612-406B-8E92-07024FDA5E05}"/>
          </ac:spMkLst>
        </pc:spChg>
        <pc:spChg chg="mod">
          <ac:chgData name="Takahito Komori" userId="7fd2de49-45b2-4181-a5c4-7be443c8d43b" providerId="ADAL" clId="{4F526E21-4110-4048-B563-7C1BDA38EFF4}" dt="2021-11-07T22:41:15.067" v="5068" actId="404"/>
          <ac:spMkLst>
            <pc:docMk/>
            <pc:sldMk cId="3814912581" sldId="11588"/>
            <ac:spMk id="6" creationId="{B902894B-C86F-4D72-83FF-B937B16B1702}"/>
          </ac:spMkLst>
        </pc:spChg>
        <pc:spChg chg="mod">
          <ac:chgData name="Takahito Komori" userId="7fd2de49-45b2-4181-a5c4-7be443c8d43b" providerId="ADAL" clId="{4F526E21-4110-4048-B563-7C1BDA38EFF4}" dt="2021-11-06T21:17:09.092" v="1744" actId="14100"/>
          <ac:spMkLst>
            <pc:docMk/>
            <pc:sldMk cId="3814912581" sldId="11588"/>
            <ac:spMk id="8" creationId="{B42FDBE4-9F23-4D9C-B071-5F00C1644D8C}"/>
          </ac:spMkLst>
        </pc:spChg>
        <pc:spChg chg="add del mod modVis">
          <ac:chgData name="Takahito Komori" userId="7fd2de49-45b2-4181-a5c4-7be443c8d43b" providerId="ADAL" clId="{4F526E21-4110-4048-B563-7C1BDA38EFF4}" dt="2021-11-06T21:24:06.838" v="2038"/>
          <ac:spMkLst>
            <pc:docMk/>
            <pc:sldMk cId="3814912581" sldId="11588"/>
            <ac:spMk id="9" creationId="{0FBE96C1-462F-4B7B-B030-0C6D8D05FFF3}"/>
          </ac:spMkLst>
        </pc:spChg>
        <pc:spChg chg="add del mod modVis">
          <ac:chgData name="Takahito Komori" userId="7fd2de49-45b2-4181-a5c4-7be443c8d43b" providerId="ADAL" clId="{4F526E21-4110-4048-B563-7C1BDA38EFF4}" dt="2021-11-06T21:24:10.296" v="2083"/>
          <ac:spMkLst>
            <pc:docMk/>
            <pc:sldMk cId="3814912581" sldId="11588"/>
            <ac:spMk id="10" creationId="{2CCBC669-85FA-4DBB-AC54-99E4FCDCC629}"/>
          </ac:spMkLst>
        </pc:spChg>
        <pc:spChg chg="add del mod modVis">
          <ac:chgData name="Takahito Komori" userId="7fd2de49-45b2-4181-a5c4-7be443c8d43b" providerId="ADAL" clId="{4F526E21-4110-4048-B563-7C1BDA38EFF4}" dt="2021-11-06T21:24:11.872" v="2128"/>
          <ac:spMkLst>
            <pc:docMk/>
            <pc:sldMk cId="3814912581" sldId="11588"/>
            <ac:spMk id="11" creationId="{621E69BF-9F58-4DFF-9780-C31EC3F98B48}"/>
          </ac:spMkLst>
        </pc:spChg>
        <pc:spChg chg="add del mod modVis">
          <ac:chgData name="Takahito Komori" userId="7fd2de49-45b2-4181-a5c4-7be443c8d43b" providerId="ADAL" clId="{4F526E21-4110-4048-B563-7C1BDA38EFF4}" dt="2021-11-06T21:24:12.653" v="2173"/>
          <ac:spMkLst>
            <pc:docMk/>
            <pc:sldMk cId="3814912581" sldId="11588"/>
            <ac:spMk id="12" creationId="{20DE1957-5AFD-45B0-9CCE-6AE990113BDD}"/>
          </ac:spMkLst>
        </pc:spChg>
        <pc:spChg chg="add del mod modVis">
          <ac:chgData name="Takahito Komori" userId="7fd2de49-45b2-4181-a5c4-7be443c8d43b" providerId="ADAL" clId="{4F526E21-4110-4048-B563-7C1BDA38EFF4}" dt="2021-11-06T21:24:13.806" v="2219"/>
          <ac:spMkLst>
            <pc:docMk/>
            <pc:sldMk cId="3814912581" sldId="11588"/>
            <ac:spMk id="13" creationId="{171C731A-4D58-48FD-932A-68CB60CB3B08}"/>
          </ac:spMkLst>
        </pc:spChg>
        <pc:spChg chg="add del mod modVis">
          <ac:chgData name="Takahito Komori" userId="7fd2de49-45b2-4181-a5c4-7be443c8d43b" providerId="ADAL" clId="{4F526E21-4110-4048-B563-7C1BDA38EFF4}" dt="2021-11-06T21:24:14.756" v="2264"/>
          <ac:spMkLst>
            <pc:docMk/>
            <pc:sldMk cId="3814912581" sldId="11588"/>
            <ac:spMk id="14" creationId="{9D92095F-CC7E-486D-BABC-16162CF61A32}"/>
          </ac:spMkLst>
        </pc:spChg>
        <pc:spChg chg="add del mod modVis">
          <ac:chgData name="Takahito Komori" userId="7fd2de49-45b2-4181-a5c4-7be443c8d43b" providerId="ADAL" clId="{4F526E21-4110-4048-B563-7C1BDA38EFF4}" dt="2021-11-06T21:25:37.484" v="2473" actId="478"/>
          <ac:spMkLst>
            <pc:docMk/>
            <pc:sldMk cId="3814912581" sldId="11588"/>
            <ac:spMk id="15" creationId="{BA5DBBDE-CEEF-414E-8B96-86A400D68D00}"/>
          </ac:spMkLst>
        </pc:spChg>
        <pc:spChg chg="mod">
          <ac:chgData name="Takahito Komori" userId="7fd2de49-45b2-4181-a5c4-7be443c8d43b" providerId="ADAL" clId="{4F526E21-4110-4048-B563-7C1BDA38EFF4}" dt="2021-11-06T21:26:22.917" v="2477" actId="313"/>
          <ac:spMkLst>
            <pc:docMk/>
            <pc:sldMk cId="3814912581" sldId="11588"/>
            <ac:spMk id="18" creationId="{E22DECD1-2412-41D5-9D7E-3B0756A966F4}"/>
          </ac:spMkLst>
        </pc:spChg>
        <pc:spChg chg="mod">
          <ac:chgData name="Takahito Komori" userId="7fd2de49-45b2-4181-a5c4-7be443c8d43b" providerId="ADAL" clId="{4F526E21-4110-4048-B563-7C1BDA38EFF4}" dt="2021-11-06T21:17:23.729" v="1747"/>
          <ac:spMkLst>
            <pc:docMk/>
            <pc:sldMk cId="3814912581" sldId="11588"/>
            <ac:spMk id="19" creationId="{B843188E-014F-4AF6-9847-910B689353B6}"/>
          </ac:spMkLst>
        </pc:spChg>
        <pc:spChg chg="mod">
          <ac:chgData name="Takahito Komori" userId="7fd2de49-45b2-4181-a5c4-7be443c8d43b" providerId="ADAL" clId="{4F526E21-4110-4048-B563-7C1BDA38EFF4}" dt="2021-11-06T21:35:31.276" v="2642" actId="20577"/>
          <ac:spMkLst>
            <pc:docMk/>
            <pc:sldMk cId="3814912581" sldId="11588"/>
            <ac:spMk id="22" creationId="{7AC1ACDB-835A-4BF3-B9F8-6B75FB733C63}"/>
          </ac:spMkLst>
        </pc:spChg>
        <pc:spChg chg="add del mod modVis">
          <ac:chgData name="Takahito Komori" userId="7fd2de49-45b2-4181-a5c4-7be443c8d43b" providerId="ADAL" clId="{4F526E21-4110-4048-B563-7C1BDA38EFF4}" dt="2021-11-06T22:02:25.532" v="3500"/>
          <ac:spMkLst>
            <pc:docMk/>
            <pc:sldMk cId="3814912581" sldId="11588"/>
            <ac:spMk id="24" creationId="{14C34A99-63F2-4FA9-B826-3CCF7BF71A5E}"/>
          </ac:spMkLst>
        </pc:spChg>
        <pc:spChg chg="mod">
          <ac:chgData name="Takahito Komori" userId="7fd2de49-45b2-4181-a5c4-7be443c8d43b" providerId="ADAL" clId="{4F526E21-4110-4048-B563-7C1BDA38EFF4}" dt="2021-11-06T20:57:13.276" v="1094" actId="20577"/>
          <ac:spMkLst>
            <pc:docMk/>
            <pc:sldMk cId="3814912581" sldId="11588"/>
            <ac:spMk id="33" creationId="{2DAD982F-FE92-4986-8D04-CC9D7E9352A3}"/>
          </ac:spMkLst>
        </pc:spChg>
        <pc:grpChg chg="mod">
          <ac:chgData name="Takahito Komori" userId="7fd2de49-45b2-4181-a5c4-7be443c8d43b" providerId="ADAL" clId="{4F526E21-4110-4048-B563-7C1BDA38EFF4}" dt="2021-11-06T21:17:23.729" v="1747"/>
          <ac:grpSpMkLst>
            <pc:docMk/>
            <pc:sldMk cId="3814912581" sldId="11588"/>
            <ac:grpSpMk id="5" creationId="{B90B5D2D-AA66-4078-9C54-AB25953908D8}"/>
          </ac:grpSpMkLst>
        </pc:grpChg>
        <pc:grpChg chg="mod">
          <ac:chgData name="Takahito Komori" userId="7fd2de49-45b2-4181-a5c4-7be443c8d43b" providerId="ADAL" clId="{4F526E21-4110-4048-B563-7C1BDA38EFF4}" dt="2021-11-06T21:17:23.729" v="1747"/>
          <ac:grpSpMkLst>
            <pc:docMk/>
            <pc:sldMk cId="3814912581" sldId="11588"/>
            <ac:grpSpMk id="17" creationId="{89FAC6DA-D547-41DE-9AE4-053531E53181}"/>
          </ac:grpSpMkLst>
        </pc:grpChg>
        <pc:graphicFrameChg chg="mod">
          <ac:chgData name="Takahito Komori" userId="7fd2de49-45b2-4181-a5c4-7be443c8d43b" providerId="ADAL" clId="{4F526E21-4110-4048-B563-7C1BDA38EFF4}" dt="2021-11-06T22:02:25.534" v="3502"/>
          <ac:graphicFrameMkLst>
            <pc:docMk/>
            <pc:sldMk cId="3814912581" sldId="11588"/>
            <ac:graphicFrameMk id="7" creationId="{D557AA00-E94A-40DF-9F5F-D947486936B6}"/>
          </ac:graphicFrameMkLst>
        </pc:graphicFrameChg>
        <pc:picChg chg="mod">
          <ac:chgData name="Takahito Komori" userId="7fd2de49-45b2-4181-a5c4-7be443c8d43b" providerId="ADAL" clId="{4F526E21-4110-4048-B563-7C1BDA38EFF4}" dt="2021-11-06T21:17:23.729" v="1747"/>
          <ac:picMkLst>
            <pc:docMk/>
            <pc:sldMk cId="3814912581" sldId="11588"/>
            <ac:picMk id="20" creationId="{F4F33844-04FA-4B8D-BFC2-681D7D98E8EE}"/>
          </ac:picMkLst>
        </pc:picChg>
        <pc:picChg chg="mod">
          <ac:chgData name="Takahito Komori" userId="7fd2de49-45b2-4181-a5c4-7be443c8d43b" providerId="ADAL" clId="{4F526E21-4110-4048-B563-7C1BDA38EFF4}" dt="2021-11-06T22:13:21.093" v="3887" actId="14100"/>
          <ac:picMkLst>
            <pc:docMk/>
            <pc:sldMk cId="3814912581" sldId="11588"/>
            <ac:picMk id="21" creationId="{DF4B6B3E-31DE-41C9-8964-C1FBD8995E92}"/>
          </ac:picMkLst>
        </pc:picChg>
        <pc:cxnChg chg="mod">
          <ac:chgData name="Takahito Komori" userId="7fd2de49-45b2-4181-a5c4-7be443c8d43b" providerId="ADAL" clId="{4F526E21-4110-4048-B563-7C1BDA38EFF4}" dt="2021-11-06T21:17:23.729" v="1747"/>
          <ac:cxnSpMkLst>
            <pc:docMk/>
            <pc:sldMk cId="3814912581" sldId="11588"/>
            <ac:cxnSpMk id="16" creationId="{F0157094-9759-4B1F-BF31-8C5DEFDAA71A}"/>
          </ac:cxnSpMkLst>
        </pc:cxnChg>
      </pc:sldChg>
      <pc:sldChg chg="addSp delSp modSp del">
        <pc:chgData name="Takahito Komori" userId="7fd2de49-45b2-4181-a5c4-7be443c8d43b" providerId="ADAL" clId="{4F526E21-4110-4048-B563-7C1BDA38EFF4}" dt="2021-11-08T03:12:24.599" v="5090" actId="47"/>
        <pc:sldMkLst>
          <pc:docMk/>
          <pc:sldMk cId="3067822336" sldId="11589"/>
        </pc:sldMkLst>
        <pc:picChg chg="add del mod">
          <ac:chgData name="Takahito Komori" userId="7fd2de49-45b2-4181-a5c4-7be443c8d43b" providerId="ADAL" clId="{4F526E21-4110-4048-B563-7C1BDA38EFF4}" dt="2021-11-07T22:40:57.415" v="5062"/>
          <ac:picMkLst>
            <pc:docMk/>
            <pc:sldMk cId="3067822336" sldId="11589"/>
            <ac:picMk id="6" creationId="{AA398575-2085-4D91-A69C-DAEAE1E88086}"/>
          </ac:picMkLst>
        </pc:picChg>
        <pc:picChg chg="add del mod">
          <ac:chgData name="Takahito Komori" userId="7fd2de49-45b2-4181-a5c4-7be443c8d43b" providerId="ADAL" clId="{4F526E21-4110-4048-B563-7C1BDA38EFF4}" dt="2021-11-07T22:41:15.492" v="5069"/>
          <ac:picMkLst>
            <pc:docMk/>
            <pc:sldMk cId="3067822336" sldId="11589"/>
            <ac:picMk id="7" creationId="{B0FC4A5B-3DFD-4325-AD7B-E6F7E7ADF4DD}"/>
          </ac:picMkLst>
        </pc:picChg>
      </pc:sldChg>
      <pc:sldChg chg="del">
        <pc:chgData name="Takahito Komori" userId="7fd2de49-45b2-4181-a5c4-7be443c8d43b" providerId="ADAL" clId="{4F526E21-4110-4048-B563-7C1BDA38EFF4}" dt="2021-11-08T03:12:13.729" v="5088" actId="47"/>
        <pc:sldMkLst>
          <pc:docMk/>
          <pc:sldMk cId="2678964580" sldId="11590"/>
        </pc:sldMkLst>
      </pc:sldChg>
      <pc:sldChg chg="del">
        <pc:chgData name="Takahito Komori" userId="7fd2de49-45b2-4181-a5c4-7be443c8d43b" providerId="ADAL" clId="{4F526E21-4110-4048-B563-7C1BDA38EFF4}" dt="2021-11-08T03:12:14.883" v="5089" actId="47"/>
        <pc:sldMkLst>
          <pc:docMk/>
          <pc:sldMk cId="3405038191" sldId="11591"/>
        </pc:sldMkLst>
      </pc:sldChg>
      <pc:sldChg chg="ord">
        <pc:chgData name="Takahito Komori" userId="7fd2de49-45b2-4181-a5c4-7be443c8d43b" providerId="ADAL" clId="{4F526E21-4110-4048-B563-7C1BDA38EFF4}" dt="2021-11-06T22:35:13.349" v="4978"/>
        <pc:sldMkLst>
          <pc:docMk/>
          <pc:sldMk cId="1233791222" sldId="11593"/>
        </pc:sldMkLst>
      </pc:sldChg>
      <pc:sldChg chg="addSp delSp modSp del mod">
        <pc:chgData name="Takahito Komori" userId="7fd2de49-45b2-4181-a5c4-7be443c8d43b" providerId="ADAL" clId="{4F526E21-4110-4048-B563-7C1BDA38EFF4}" dt="2021-11-06T22:33:57.734" v="4953" actId="2696"/>
        <pc:sldMkLst>
          <pc:docMk/>
          <pc:sldMk cId="113512627" sldId="11594"/>
        </pc:sldMkLst>
        <pc:picChg chg="del mod">
          <ac:chgData name="Takahito Komori" userId="7fd2de49-45b2-4181-a5c4-7be443c8d43b" providerId="ADAL" clId="{4F526E21-4110-4048-B563-7C1BDA38EFF4}" dt="2021-11-06T22:30:38.840" v="4462" actId="21"/>
          <ac:picMkLst>
            <pc:docMk/>
            <pc:sldMk cId="113512627" sldId="11594"/>
            <ac:picMk id="5" creationId="{8F2DC7CE-A6C3-C249-A1B9-71765C1984A1}"/>
          </ac:picMkLst>
        </pc:picChg>
        <pc:picChg chg="add del mod">
          <ac:chgData name="Takahito Komori" userId="7fd2de49-45b2-4181-a5c4-7be443c8d43b" providerId="ADAL" clId="{4F526E21-4110-4048-B563-7C1BDA38EFF4}" dt="2021-11-06T22:30:38.840" v="4462" actId="21"/>
          <ac:picMkLst>
            <pc:docMk/>
            <pc:sldMk cId="113512627" sldId="11594"/>
            <ac:picMk id="6" creationId="{D2E65A58-2E66-407E-B508-59065148C9FA}"/>
          </ac:picMkLst>
        </pc:picChg>
        <pc:picChg chg="add del mod">
          <ac:chgData name="Takahito Komori" userId="7fd2de49-45b2-4181-a5c4-7be443c8d43b" providerId="ADAL" clId="{4F526E21-4110-4048-B563-7C1BDA38EFF4}" dt="2021-11-06T22:30:31.863" v="4461" actId="21"/>
          <ac:picMkLst>
            <pc:docMk/>
            <pc:sldMk cId="113512627" sldId="11594"/>
            <ac:picMk id="7" creationId="{AF6CA98A-E15C-4D4D-ACC0-EFAC2967213E}"/>
          </ac:picMkLst>
        </pc:picChg>
        <pc:picChg chg="del mod">
          <ac:chgData name="Takahito Komori" userId="7fd2de49-45b2-4181-a5c4-7be443c8d43b" providerId="ADAL" clId="{4F526E21-4110-4048-B563-7C1BDA38EFF4}" dt="2021-11-06T22:33:03.493" v="4485" actId="21"/>
          <ac:picMkLst>
            <pc:docMk/>
            <pc:sldMk cId="113512627" sldId="11594"/>
            <ac:picMk id="8" creationId="{1939A8F3-642C-4647-8558-AC04FA2E1843}"/>
          </ac:picMkLst>
        </pc:picChg>
        <pc:picChg chg="add del mod">
          <ac:chgData name="Takahito Komori" userId="7fd2de49-45b2-4181-a5c4-7be443c8d43b" providerId="ADAL" clId="{4F526E21-4110-4048-B563-7C1BDA38EFF4}" dt="2021-11-06T22:30:31.863" v="4461" actId="21"/>
          <ac:picMkLst>
            <pc:docMk/>
            <pc:sldMk cId="113512627" sldId="11594"/>
            <ac:picMk id="8" creationId="{B4D8AEE8-95BF-4C5D-ADB9-3763DD4907C0}"/>
          </ac:picMkLst>
        </pc:picChg>
      </pc:sldChg>
      <pc:sldChg chg="addSp delSp modSp add mod">
        <pc:chgData name="Takahito Komori" userId="7fd2de49-45b2-4181-a5c4-7be443c8d43b" providerId="ADAL" clId="{4F526E21-4110-4048-B563-7C1BDA38EFF4}" dt="2021-11-06T22:35:02.487" v="4976" actId="20577"/>
        <pc:sldMkLst>
          <pc:docMk/>
          <pc:sldMk cId="3969723462" sldId="11595"/>
        </pc:sldMkLst>
        <pc:spChg chg="add del mod modVis">
          <ac:chgData name="Takahito Komori" userId="7fd2de49-45b2-4181-a5c4-7be443c8d43b" providerId="ADAL" clId="{4F526E21-4110-4048-B563-7C1BDA38EFF4}" dt="2021-11-06T22:33:24.994" v="4582"/>
          <ac:spMkLst>
            <pc:docMk/>
            <pc:sldMk cId="3969723462" sldId="11595"/>
            <ac:spMk id="2" creationId="{C4B33C22-3EEB-4B7A-9E6C-AB4457009226}"/>
          </ac:spMkLst>
        </pc:spChg>
        <pc:spChg chg="mod">
          <ac:chgData name="Takahito Komori" userId="7fd2de49-45b2-4181-a5c4-7be443c8d43b" providerId="ADAL" clId="{4F526E21-4110-4048-B563-7C1BDA38EFF4}" dt="2021-11-06T22:23:10.289" v="4339"/>
          <ac:spMkLst>
            <pc:docMk/>
            <pc:sldMk cId="3969723462" sldId="11595"/>
            <ac:spMk id="3" creationId="{7D74EF18-9B7A-4C54-9D94-2F12A1B79057}"/>
          </ac:spMkLst>
        </pc:spChg>
        <pc:spChg chg="add del mod modVis">
          <ac:chgData name="Takahito Komori" userId="7fd2de49-45b2-4181-a5c4-7be443c8d43b" providerId="ADAL" clId="{4F526E21-4110-4048-B563-7C1BDA38EFF4}" dt="2021-11-06T22:33:27.001" v="4627"/>
          <ac:spMkLst>
            <pc:docMk/>
            <pc:sldMk cId="3969723462" sldId="11595"/>
            <ac:spMk id="4" creationId="{ABD130BF-F85D-41C7-AB55-25115EFE37DC}"/>
          </ac:spMkLst>
        </pc:spChg>
        <pc:spChg chg="add del mod modVis">
          <ac:chgData name="Takahito Komori" userId="7fd2de49-45b2-4181-a5c4-7be443c8d43b" providerId="ADAL" clId="{4F526E21-4110-4048-B563-7C1BDA38EFF4}" dt="2021-11-06T22:33:28.651" v="4674"/>
          <ac:spMkLst>
            <pc:docMk/>
            <pc:sldMk cId="3969723462" sldId="11595"/>
            <ac:spMk id="5" creationId="{50D46CE1-6558-49DA-9665-3A7A3A7D5E3A}"/>
          </ac:spMkLst>
        </pc:spChg>
        <pc:spChg chg="mod">
          <ac:chgData name="Takahito Komori" userId="7fd2de49-45b2-4181-a5c4-7be443c8d43b" providerId="ADAL" clId="{4F526E21-4110-4048-B563-7C1BDA38EFF4}" dt="2021-11-06T22:33:35.034" v="4909" actId="948"/>
          <ac:spMkLst>
            <pc:docMk/>
            <pc:sldMk cId="3969723462" sldId="11595"/>
            <ac:spMk id="6" creationId="{1089D124-6461-421C-9CE3-6F57761E78FE}"/>
          </ac:spMkLst>
        </pc:spChg>
        <pc:spChg chg="add del mod modVis">
          <ac:chgData name="Takahito Komori" userId="7fd2de49-45b2-4181-a5c4-7be443c8d43b" providerId="ADAL" clId="{4F526E21-4110-4048-B563-7C1BDA38EFF4}" dt="2021-11-06T22:33:29.255" v="4718"/>
          <ac:spMkLst>
            <pc:docMk/>
            <pc:sldMk cId="3969723462" sldId="11595"/>
            <ac:spMk id="7" creationId="{C1C1AA5F-CD31-42A8-AF32-947E3FBF1C02}"/>
          </ac:spMkLst>
        </pc:spChg>
        <pc:spChg chg="add del mod modVis">
          <ac:chgData name="Takahito Komori" userId="7fd2de49-45b2-4181-a5c4-7be443c8d43b" providerId="ADAL" clId="{4F526E21-4110-4048-B563-7C1BDA38EFF4}" dt="2021-11-06T22:33:30.110" v="4762"/>
          <ac:spMkLst>
            <pc:docMk/>
            <pc:sldMk cId="3969723462" sldId="11595"/>
            <ac:spMk id="8" creationId="{90DD8CB6-8F1D-4935-94E6-83E13B493C30}"/>
          </ac:spMkLst>
        </pc:spChg>
        <pc:spChg chg="add del mod modVis">
          <ac:chgData name="Takahito Komori" userId="7fd2de49-45b2-4181-a5c4-7be443c8d43b" providerId="ADAL" clId="{4F526E21-4110-4048-B563-7C1BDA38EFF4}" dt="2021-11-06T22:33:30.685" v="4806"/>
          <ac:spMkLst>
            <pc:docMk/>
            <pc:sldMk cId="3969723462" sldId="11595"/>
            <ac:spMk id="10" creationId="{841CB3B6-62CD-453C-A0A0-4645F225048C}"/>
          </ac:spMkLst>
        </pc:spChg>
        <pc:spChg chg="add del mod modVis">
          <ac:chgData name="Takahito Komori" userId="7fd2de49-45b2-4181-a5c4-7be443c8d43b" providerId="ADAL" clId="{4F526E21-4110-4048-B563-7C1BDA38EFF4}" dt="2021-11-06T22:33:32.006" v="4853"/>
          <ac:spMkLst>
            <pc:docMk/>
            <pc:sldMk cId="3969723462" sldId="11595"/>
            <ac:spMk id="11" creationId="{310EEB67-E1D0-426F-8DD4-4ADB7755CEA2}"/>
          </ac:spMkLst>
        </pc:spChg>
        <pc:spChg chg="add del mod modVis">
          <ac:chgData name="Takahito Komori" userId="7fd2de49-45b2-4181-a5c4-7be443c8d43b" providerId="ADAL" clId="{4F526E21-4110-4048-B563-7C1BDA38EFF4}" dt="2021-11-06T22:33:33.116" v="4898"/>
          <ac:spMkLst>
            <pc:docMk/>
            <pc:sldMk cId="3969723462" sldId="11595"/>
            <ac:spMk id="12" creationId="{E272A044-71F7-4F84-8925-367FA0308319}"/>
          </ac:spMkLst>
        </pc:spChg>
        <pc:spChg chg="add del mod modVis">
          <ac:chgData name="Takahito Komori" userId="7fd2de49-45b2-4181-a5c4-7be443c8d43b" providerId="ADAL" clId="{4F526E21-4110-4048-B563-7C1BDA38EFF4}" dt="2021-11-06T22:33:35.084" v="4949"/>
          <ac:spMkLst>
            <pc:docMk/>
            <pc:sldMk cId="3969723462" sldId="11595"/>
            <ac:spMk id="13" creationId="{9ADB6FDD-3438-4A4D-9D9B-18EEAD1A77F5}"/>
          </ac:spMkLst>
        </pc:spChg>
        <pc:spChg chg="mod">
          <ac:chgData name="Takahito Komori" userId="7fd2de49-45b2-4181-a5c4-7be443c8d43b" providerId="ADAL" clId="{4F526E21-4110-4048-B563-7C1BDA38EFF4}" dt="2021-11-06T22:23:10.289" v="4339"/>
          <ac:spMkLst>
            <pc:docMk/>
            <pc:sldMk cId="3969723462" sldId="11595"/>
            <ac:spMk id="16" creationId="{32A523B0-5DD4-4323-A056-35FF0345B491}"/>
          </ac:spMkLst>
        </pc:spChg>
        <pc:spChg chg="mod">
          <ac:chgData name="Takahito Komori" userId="7fd2de49-45b2-4181-a5c4-7be443c8d43b" providerId="ADAL" clId="{4F526E21-4110-4048-B563-7C1BDA38EFF4}" dt="2021-11-06T22:35:02.487" v="4976" actId="20577"/>
          <ac:spMkLst>
            <pc:docMk/>
            <pc:sldMk cId="3969723462" sldId="11595"/>
            <ac:spMk id="45" creationId="{79C0AD2C-DBE8-44D3-8274-56F6E09C5A09}"/>
          </ac:spMkLst>
        </pc:spChg>
        <pc:spChg chg="mod">
          <ac:chgData name="Takahito Komori" userId="7fd2de49-45b2-4181-a5c4-7be443c8d43b" providerId="ADAL" clId="{4F526E21-4110-4048-B563-7C1BDA38EFF4}" dt="2021-11-06T22:23:10.289" v="4339"/>
          <ac:spMkLst>
            <pc:docMk/>
            <pc:sldMk cId="3969723462" sldId="11595"/>
            <ac:spMk id="46" creationId="{ACBDD868-1A79-449F-9104-0428E47E0DAC}"/>
          </ac:spMkLst>
        </pc:spChg>
        <pc:spChg chg="mod">
          <ac:chgData name="Takahito Komori" userId="7fd2de49-45b2-4181-a5c4-7be443c8d43b" providerId="ADAL" clId="{4F526E21-4110-4048-B563-7C1BDA38EFF4}" dt="2021-11-06T22:31:08.472" v="4474" actId="14100"/>
          <ac:spMkLst>
            <pc:docMk/>
            <pc:sldMk cId="3969723462" sldId="11595"/>
            <ac:spMk id="50" creationId="{77F22D06-9156-4EFD-835C-D0696DF006BD}"/>
          </ac:spMkLst>
        </pc:spChg>
        <pc:spChg chg="mod">
          <ac:chgData name="Takahito Komori" userId="7fd2de49-45b2-4181-a5c4-7be443c8d43b" providerId="ADAL" clId="{4F526E21-4110-4048-B563-7C1BDA38EFF4}" dt="2021-11-06T22:23:10.289" v="4339"/>
          <ac:spMkLst>
            <pc:docMk/>
            <pc:sldMk cId="3969723462" sldId="11595"/>
            <ac:spMk id="55" creationId="{F744FB79-80A5-4FFE-912E-197C96F94A04}"/>
          </ac:spMkLst>
        </pc:spChg>
        <pc:spChg chg="del mod">
          <ac:chgData name="Takahito Komori" userId="7fd2de49-45b2-4181-a5c4-7be443c8d43b" providerId="ADAL" clId="{4F526E21-4110-4048-B563-7C1BDA38EFF4}" dt="2021-11-06T22:23:21.637" v="4342" actId="478"/>
          <ac:spMkLst>
            <pc:docMk/>
            <pc:sldMk cId="3969723462" sldId="11595"/>
            <ac:spMk id="56" creationId="{E77A8164-C1B4-4A55-ADBA-A23EAF6A1632}"/>
          </ac:spMkLst>
        </pc:spChg>
        <pc:spChg chg="del mod">
          <ac:chgData name="Takahito Komori" userId="7fd2de49-45b2-4181-a5c4-7be443c8d43b" providerId="ADAL" clId="{4F526E21-4110-4048-B563-7C1BDA38EFF4}" dt="2021-11-06T22:23:21.637" v="4342" actId="478"/>
          <ac:spMkLst>
            <pc:docMk/>
            <pc:sldMk cId="3969723462" sldId="11595"/>
            <ac:spMk id="57" creationId="{2A0BF585-E673-4BA5-B63F-851B31FA5CCF}"/>
          </ac:spMkLst>
        </pc:spChg>
        <pc:spChg chg="del mod">
          <ac:chgData name="Takahito Komori" userId="7fd2de49-45b2-4181-a5c4-7be443c8d43b" providerId="ADAL" clId="{4F526E21-4110-4048-B563-7C1BDA38EFF4}" dt="2021-11-06T22:23:19.385" v="4341" actId="478"/>
          <ac:spMkLst>
            <pc:docMk/>
            <pc:sldMk cId="3969723462" sldId="11595"/>
            <ac:spMk id="58" creationId="{D69EFD27-50A2-4182-B3AA-7ADA2AA99FA3}"/>
          </ac:spMkLst>
        </pc:spChg>
        <pc:spChg chg="del mod">
          <ac:chgData name="Takahito Komori" userId="7fd2de49-45b2-4181-a5c4-7be443c8d43b" providerId="ADAL" clId="{4F526E21-4110-4048-B563-7C1BDA38EFF4}" dt="2021-11-06T22:23:19.385" v="4341" actId="478"/>
          <ac:spMkLst>
            <pc:docMk/>
            <pc:sldMk cId="3969723462" sldId="11595"/>
            <ac:spMk id="59" creationId="{EB896247-9292-4CA2-B160-F984D5F9C948}"/>
          </ac:spMkLst>
        </pc:spChg>
        <pc:grpChg chg="mod">
          <ac:chgData name="Takahito Komori" userId="7fd2de49-45b2-4181-a5c4-7be443c8d43b" providerId="ADAL" clId="{4F526E21-4110-4048-B563-7C1BDA38EFF4}" dt="2021-11-06T22:23:10.289" v="4339"/>
          <ac:grpSpMkLst>
            <pc:docMk/>
            <pc:sldMk cId="3969723462" sldId="11595"/>
            <ac:grpSpMk id="1" creationId="{00000000-0000-0000-0000-000000000000}"/>
          </ac:grpSpMkLst>
        </pc:grpChg>
        <pc:graphicFrameChg chg="mod">
          <ac:chgData name="Takahito Komori" userId="7fd2de49-45b2-4181-a5c4-7be443c8d43b" providerId="ADAL" clId="{4F526E21-4110-4048-B563-7C1BDA38EFF4}" dt="2021-11-06T22:33:35.086" v="4951"/>
          <ac:graphicFrameMkLst>
            <pc:docMk/>
            <pc:sldMk cId="3969723462" sldId="11595"/>
            <ac:graphicFrameMk id="9" creationId="{8F6E819A-7BF9-42DD-87B7-810ED3EB495D}"/>
          </ac:graphicFrameMkLst>
        </pc:graphicFrameChg>
        <pc:picChg chg="del mod">
          <ac:chgData name="Takahito Komori" userId="7fd2de49-45b2-4181-a5c4-7be443c8d43b" providerId="ADAL" clId="{4F526E21-4110-4048-B563-7C1BDA38EFF4}" dt="2021-11-06T22:23:15.527" v="4340" actId="478"/>
          <ac:picMkLst>
            <pc:docMk/>
            <pc:sldMk cId="3969723462" sldId="11595"/>
            <ac:picMk id="15" creationId="{29C53EFC-1719-BE44-ACFF-B744978C1480}"/>
          </ac:picMkLst>
        </pc:picChg>
        <pc:picChg chg="add del mod">
          <ac:chgData name="Takahito Komori" userId="7fd2de49-45b2-4181-a5c4-7be443c8d43b" providerId="ADAL" clId="{4F526E21-4110-4048-B563-7C1BDA38EFF4}" dt="2021-11-06T22:24:50.568" v="4354" actId="478"/>
          <ac:picMkLst>
            <pc:docMk/>
            <pc:sldMk cId="3969723462" sldId="11595"/>
            <ac:picMk id="17" creationId="{3AA60CF9-D1B0-4ABA-BC4E-075FCED96C10}"/>
          </ac:picMkLst>
        </pc:picChg>
        <pc:picChg chg="add del mod">
          <ac:chgData name="Takahito Komori" userId="7fd2de49-45b2-4181-a5c4-7be443c8d43b" providerId="ADAL" clId="{4F526E21-4110-4048-B563-7C1BDA38EFF4}" dt="2021-11-06T22:24:50.568" v="4354" actId="478"/>
          <ac:picMkLst>
            <pc:docMk/>
            <pc:sldMk cId="3969723462" sldId="11595"/>
            <ac:picMk id="18" creationId="{96253DC7-9244-4F3E-8F6E-1B074B53797F}"/>
          </ac:picMkLst>
        </pc:picChg>
        <pc:picChg chg="add del mod">
          <ac:chgData name="Takahito Komori" userId="7fd2de49-45b2-4181-a5c4-7be443c8d43b" providerId="ADAL" clId="{4F526E21-4110-4048-B563-7C1BDA38EFF4}" dt="2021-11-06T22:32:51.237" v="4481" actId="478"/>
          <ac:picMkLst>
            <pc:docMk/>
            <pc:sldMk cId="3969723462" sldId="11595"/>
            <ac:picMk id="19" creationId="{556BB40E-D2EF-4215-AC53-B045F9D67036}"/>
          </ac:picMkLst>
        </pc:picChg>
        <pc:picChg chg="add mod">
          <ac:chgData name="Takahito Komori" userId="7fd2de49-45b2-4181-a5c4-7be443c8d43b" providerId="ADAL" clId="{4F526E21-4110-4048-B563-7C1BDA38EFF4}" dt="2021-11-06T22:34:40.641" v="4970"/>
          <ac:picMkLst>
            <pc:docMk/>
            <pc:sldMk cId="3969723462" sldId="11595"/>
            <ac:picMk id="20" creationId="{F3EC93DA-2DFB-4D51-85EF-776CBFBED5E6}"/>
          </ac:picMkLst>
        </pc:picChg>
        <pc:picChg chg="add mod">
          <ac:chgData name="Takahito Komori" userId="7fd2de49-45b2-4181-a5c4-7be443c8d43b" providerId="ADAL" clId="{4F526E21-4110-4048-B563-7C1BDA38EFF4}" dt="2021-11-06T22:34:35.525" v="4968"/>
          <ac:picMkLst>
            <pc:docMk/>
            <pc:sldMk cId="3969723462" sldId="11595"/>
            <ac:picMk id="21" creationId="{1F04CC5F-2EAE-45D1-ADC8-DA1547A25A5A}"/>
          </ac:picMkLst>
        </pc:picChg>
        <pc:picChg chg="mod">
          <ac:chgData name="Takahito Komori" userId="7fd2de49-45b2-4181-a5c4-7be443c8d43b" providerId="ADAL" clId="{4F526E21-4110-4048-B563-7C1BDA38EFF4}" dt="2021-11-06T22:23:10.289" v="4339"/>
          <ac:picMkLst>
            <pc:docMk/>
            <pc:sldMk cId="3969723462" sldId="11595"/>
            <ac:picMk id="44" creationId="{B40AE246-96C5-4D90-954C-E5F676BABEE1}"/>
          </ac:picMkLst>
        </pc:picChg>
        <pc:picChg chg="del mod">
          <ac:chgData name="Takahito Komori" userId="7fd2de49-45b2-4181-a5c4-7be443c8d43b" providerId="ADAL" clId="{4F526E21-4110-4048-B563-7C1BDA38EFF4}" dt="2021-11-06T22:23:15.527" v="4340" actId="478"/>
          <ac:picMkLst>
            <pc:docMk/>
            <pc:sldMk cId="3969723462" sldId="11595"/>
            <ac:picMk id="47" creationId="{034A31F0-F30F-403F-AD8F-E239F7F1F547}"/>
          </ac:picMkLst>
        </pc:picChg>
      </pc:sldChg>
      <pc:sldChg chg="delSp del mod">
        <pc:chgData name="Takahito Komori" userId="7fd2de49-45b2-4181-a5c4-7be443c8d43b" providerId="ADAL" clId="{4F526E21-4110-4048-B563-7C1BDA38EFF4}" dt="2021-11-06T22:33:57.734" v="4953" actId="2696"/>
        <pc:sldMkLst>
          <pc:docMk/>
          <pc:sldMk cId="2831323136" sldId="11596"/>
        </pc:sldMkLst>
        <pc:picChg chg="del">
          <ac:chgData name="Takahito Komori" userId="7fd2de49-45b2-4181-a5c4-7be443c8d43b" providerId="ADAL" clId="{4F526E21-4110-4048-B563-7C1BDA38EFF4}" dt="2021-11-06T22:30:13.245" v="4456" actId="21"/>
          <ac:picMkLst>
            <pc:docMk/>
            <pc:sldMk cId="2831323136" sldId="11596"/>
            <ac:picMk id="5" creationId="{788B08C9-F3BF-634A-9048-A3FE398EBE32}"/>
          </ac:picMkLst>
        </pc:picChg>
      </pc:sldChg>
      <pc:sldChg chg="addSp delSp modSp del mod setBg">
        <pc:chgData name="Takahito Komori" userId="7fd2de49-45b2-4181-a5c4-7be443c8d43b" providerId="ADAL" clId="{4F526E21-4110-4048-B563-7C1BDA38EFF4}" dt="2021-11-08T03:12:10.727" v="5087" actId="47"/>
        <pc:sldMkLst>
          <pc:docMk/>
          <pc:sldMk cId="3976684779" sldId="11596"/>
        </pc:sldMkLst>
        <pc:spChg chg="del">
          <ac:chgData name="Takahito Komori" userId="7fd2de49-45b2-4181-a5c4-7be443c8d43b" providerId="ADAL" clId="{4F526E21-4110-4048-B563-7C1BDA38EFF4}" dt="2021-11-07T22:40:53.990" v="5034" actId="26606"/>
          <ac:spMkLst>
            <pc:docMk/>
            <pc:sldMk cId="3976684779" sldId="11596"/>
            <ac:spMk id="2" creationId="{26D60A6A-BCA2-4E71-8E90-4E639238FD42}"/>
          </ac:spMkLst>
        </pc:spChg>
        <pc:spChg chg="del">
          <ac:chgData name="Takahito Komori" userId="7fd2de49-45b2-4181-a5c4-7be443c8d43b" providerId="ADAL" clId="{4F526E21-4110-4048-B563-7C1BDA38EFF4}" dt="2021-11-07T22:40:53.990" v="5034" actId="26606"/>
          <ac:spMkLst>
            <pc:docMk/>
            <pc:sldMk cId="3976684779" sldId="11596"/>
            <ac:spMk id="3" creationId="{3FC7B90C-DD6F-4A1E-A6CE-715F4184CC4A}"/>
          </ac:spMkLst>
        </pc:spChg>
        <pc:spChg chg="add">
          <ac:chgData name="Takahito Komori" userId="7fd2de49-45b2-4181-a5c4-7be443c8d43b" providerId="ADAL" clId="{4F526E21-4110-4048-B563-7C1BDA38EFF4}" dt="2021-11-07T22:40:53.990" v="5034" actId="26606"/>
          <ac:spMkLst>
            <pc:docMk/>
            <pc:sldMk cId="3976684779" sldId="11596"/>
            <ac:spMk id="9" creationId="{F3060C83-F051-4F0E-ABAD-AA0DFC48B218}"/>
          </ac:spMkLst>
        </pc:spChg>
        <pc:spChg chg="add">
          <ac:chgData name="Takahito Komori" userId="7fd2de49-45b2-4181-a5c4-7be443c8d43b" providerId="ADAL" clId="{4F526E21-4110-4048-B563-7C1BDA38EFF4}" dt="2021-11-07T22:40:53.990" v="5034" actId="26606"/>
          <ac:spMkLst>
            <pc:docMk/>
            <pc:sldMk cId="3976684779" sldId="11596"/>
            <ac:spMk id="11" creationId="{83C98ABE-055B-441F-B07E-44F97F083C39}"/>
          </ac:spMkLst>
        </pc:spChg>
        <pc:spChg chg="add">
          <ac:chgData name="Takahito Komori" userId="7fd2de49-45b2-4181-a5c4-7be443c8d43b" providerId="ADAL" clId="{4F526E21-4110-4048-B563-7C1BDA38EFF4}" dt="2021-11-07T22:40:53.990" v="5034" actId="26606"/>
          <ac:spMkLst>
            <pc:docMk/>
            <pc:sldMk cId="3976684779" sldId="11596"/>
            <ac:spMk id="13" creationId="{29FDB030-9B49-4CED-8CCD-4D99382388AC}"/>
          </ac:spMkLst>
        </pc:spChg>
        <pc:spChg chg="add">
          <ac:chgData name="Takahito Komori" userId="7fd2de49-45b2-4181-a5c4-7be443c8d43b" providerId="ADAL" clId="{4F526E21-4110-4048-B563-7C1BDA38EFF4}" dt="2021-11-07T22:40:53.990" v="5034" actId="26606"/>
          <ac:spMkLst>
            <pc:docMk/>
            <pc:sldMk cId="3976684779" sldId="11596"/>
            <ac:spMk id="15" creationId="{3783CA14-24A1-485C-8B30-D6A5D87987AD}"/>
          </ac:spMkLst>
        </pc:spChg>
        <pc:spChg chg="add">
          <ac:chgData name="Takahito Komori" userId="7fd2de49-45b2-4181-a5c4-7be443c8d43b" providerId="ADAL" clId="{4F526E21-4110-4048-B563-7C1BDA38EFF4}" dt="2021-11-07T22:40:53.990" v="5034" actId="26606"/>
          <ac:spMkLst>
            <pc:docMk/>
            <pc:sldMk cId="3976684779" sldId="11596"/>
            <ac:spMk id="17" creationId="{9A97C86A-04D6-40F7-AE84-31AB43E6A846}"/>
          </ac:spMkLst>
        </pc:spChg>
        <pc:spChg chg="add">
          <ac:chgData name="Takahito Komori" userId="7fd2de49-45b2-4181-a5c4-7be443c8d43b" providerId="ADAL" clId="{4F526E21-4110-4048-B563-7C1BDA38EFF4}" dt="2021-11-07T22:40:53.990" v="5034" actId="26606"/>
          <ac:spMkLst>
            <pc:docMk/>
            <pc:sldMk cId="3976684779" sldId="11596"/>
            <ac:spMk id="19" creationId="{FF9F2414-84E8-453E-B1F3-389FDE8192D9}"/>
          </ac:spMkLst>
        </pc:spChg>
        <pc:spChg chg="add">
          <ac:chgData name="Takahito Komori" userId="7fd2de49-45b2-4181-a5c4-7be443c8d43b" providerId="ADAL" clId="{4F526E21-4110-4048-B563-7C1BDA38EFF4}" dt="2021-11-07T22:40:53.990" v="5034" actId="26606"/>
          <ac:spMkLst>
            <pc:docMk/>
            <pc:sldMk cId="3976684779" sldId="11596"/>
            <ac:spMk id="21" creationId="{3ECA69A1-7536-43AC-85EF-C7106179F5ED}"/>
          </ac:spMkLst>
        </pc:spChg>
        <pc:graphicFrameChg chg="add del mod ord modVis replST delST">
          <ac:chgData name="Takahito Komori" userId="7fd2de49-45b2-4181-a5c4-7be443c8d43b" providerId="ADAL" clId="{4F526E21-4110-4048-B563-7C1BDA38EFF4}" dt="2021-11-07T22:40:55.769" v="5061"/>
          <ac:graphicFrameMkLst>
            <pc:docMk/>
            <pc:sldMk cId="3976684779" sldId="11596"/>
            <ac:graphicFrameMk id="5" creationId="{5E2579DE-DD97-4324-BFD1-53F3D9C90618}"/>
          </ac:graphicFrameMkLst>
        </pc:graphicFrameChg>
        <pc:picChg chg="add del mod">
          <ac:chgData name="Takahito Komori" userId="7fd2de49-45b2-4181-a5c4-7be443c8d43b" providerId="ADAL" clId="{4F526E21-4110-4048-B563-7C1BDA38EFF4}" dt="2021-11-07T22:41:16.351" v="5070" actId="478"/>
          <ac:picMkLst>
            <pc:docMk/>
            <pc:sldMk cId="3976684779" sldId="11596"/>
            <ac:picMk id="4" creationId="{782831FF-9E77-49B5-955C-4F7586066D65}"/>
          </ac:picMkLst>
        </pc:picChg>
      </pc:sldChg>
      <pc:sldMasterChg chg="delSldLayout">
        <pc:chgData name="Takahito Komori" userId="7fd2de49-45b2-4181-a5c4-7be443c8d43b" providerId="ADAL" clId="{4F526E21-4110-4048-B563-7C1BDA38EFF4}" dt="2021-11-06T22:25:17.987" v="4355" actId="2696"/>
        <pc:sldMasterMkLst>
          <pc:docMk/>
          <pc:sldMasterMk cId="2425343254" sldId="2147483648"/>
        </pc:sldMasterMkLst>
        <pc:sldLayoutChg chg="del">
          <pc:chgData name="Takahito Komori" userId="7fd2de49-45b2-4181-a5c4-7be443c8d43b" providerId="ADAL" clId="{4F526E21-4110-4048-B563-7C1BDA38EFF4}" dt="2021-11-06T22:25:17.987" v="4355" actId="2696"/>
          <pc:sldLayoutMkLst>
            <pc:docMk/>
            <pc:sldMasterMk cId="2425343254" sldId="2147483648"/>
            <pc:sldLayoutMk cId="4240288102" sldId="2147483664"/>
          </pc:sldLayoutMkLst>
        </pc:sldLayoutChg>
      </pc:sldMasterChg>
    </pc:docChg>
  </pc:docChgLst>
  <pc:docChgLst>
    <pc:chgData name="Thota Veera Venkta" userId="S::tveeravenkta2020@student.hult.edu::821e509d-86d1-4d40-9e04-5d92f065258c" providerId="AD" clId="Web-{9D58A818-0661-487E-B9DA-6AB07E5894B6}"/>
    <pc:docChg chg="addSld modSld">
      <pc:chgData name="Thota Veera Venkta" userId="S::tveeravenkta2020@student.hult.edu::821e509d-86d1-4d40-9e04-5d92f065258c" providerId="AD" clId="Web-{9D58A818-0661-487E-B9DA-6AB07E5894B6}" dt="2021-11-06T21:39:31.673" v="956"/>
      <pc:docMkLst>
        <pc:docMk/>
      </pc:docMkLst>
      <pc:sldChg chg="modSp">
        <pc:chgData name="Thota Veera Venkta" userId="S::tveeravenkta2020@student.hult.edu::821e509d-86d1-4d40-9e04-5d92f065258c" providerId="AD" clId="Web-{9D58A818-0661-487E-B9DA-6AB07E5894B6}" dt="2021-11-06T20:20:45.656" v="30" actId="20577"/>
        <pc:sldMkLst>
          <pc:docMk/>
          <pc:sldMk cId="720737956" sldId="11425"/>
        </pc:sldMkLst>
        <pc:spChg chg="mod">
          <ac:chgData name="Thota Veera Venkta" userId="S::tveeravenkta2020@student.hult.edu::821e509d-86d1-4d40-9e04-5d92f065258c" providerId="AD" clId="Web-{9D58A818-0661-487E-B9DA-6AB07E5894B6}" dt="2021-11-06T20:20:45.656" v="30" actId="20577"/>
          <ac:spMkLst>
            <pc:docMk/>
            <pc:sldMk cId="720737956" sldId="11425"/>
            <ac:spMk id="4" creationId="{4B192654-860C-4BAC-A7C9-47FBBD996C14}"/>
          </ac:spMkLst>
        </pc:spChg>
      </pc:sldChg>
      <pc:sldChg chg="modSp">
        <pc:chgData name="Thota Veera Venkta" userId="S::tveeravenkta2020@student.hult.edu::821e509d-86d1-4d40-9e04-5d92f065258c" providerId="AD" clId="Web-{9D58A818-0661-487E-B9DA-6AB07E5894B6}" dt="2021-11-06T20:54:05.459" v="578" actId="20577"/>
        <pc:sldMkLst>
          <pc:docMk/>
          <pc:sldMk cId="3814912581" sldId="11588"/>
        </pc:sldMkLst>
        <pc:spChg chg="mod">
          <ac:chgData name="Thota Veera Venkta" userId="S::tveeravenkta2020@student.hult.edu::821e509d-86d1-4d40-9e04-5d92f065258c" providerId="AD" clId="Web-{9D58A818-0661-487E-B9DA-6AB07E5894B6}" dt="2021-11-06T20:43:55.502" v="525" actId="20577"/>
          <ac:spMkLst>
            <pc:docMk/>
            <pc:sldMk cId="3814912581" sldId="11588"/>
            <ac:spMk id="8" creationId="{B42FDBE4-9F23-4D9C-B071-5F00C1644D8C}"/>
          </ac:spMkLst>
        </pc:spChg>
        <pc:spChg chg="mod">
          <ac:chgData name="Thota Veera Venkta" userId="S::tveeravenkta2020@student.hult.edu::821e509d-86d1-4d40-9e04-5d92f065258c" providerId="AD" clId="Web-{9D58A818-0661-487E-B9DA-6AB07E5894B6}" dt="2021-11-06T20:54:05.459" v="578" actId="20577"/>
          <ac:spMkLst>
            <pc:docMk/>
            <pc:sldMk cId="3814912581" sldId="11588"/>
            <ac:spMk id="18" creationId="{E22DECD1-2412-41D5-9D7E-3B0756A966F4}"/>
          </ac:spMkLst>
        </pc:spChg>
      </pc:sldChg>
      <pc:sldChg chg="addSp modSp new">
        <pc:chgData name="Thota Veera Venkta" userId="S::tveeravenkta2020@student.hult.edu::821e509d-86d1-4d40-9e04-5d92f065258c" providerId="AD" clId="Web-{9D58A818-0661-487E-B9DA-6AB07E5894B6}" dt="2021-11-06T21:22:35.520" v="842" actId="20577"/>
        <pc:sldMkLst>
          <pc:docMk/>
          <pc:sldMk cId="3067822336" sldId="11589"/>
        </pc:sldMkLst>
        <pc:spChg chg="mod">
          <ac:chgData name="Thota Veera Venkta" userId="S::tveeravenkta2020@student.hult.edu::821e509d-86d1-4d40-9e04-5d92f065258c" providerId="AD" clId="Web-{9D58A818-0661-487E-B9DA-6AB07E5894B6}" dt="2021-11-06T21:22:35.520" v="842" actId="20577"/>
          <ac:spMkLst>
            <pc:docMk/>
            <pc:sldMk cId="3067822336" sldId="11589"/>
            <ac:spMk id="3" creationId="{A5BA7649-F6FA-465D-94E1-53F1628B4735}"/>
          </ac:spMkLst>
        </pc:spChg>
        <pc:spChg chg="add mod">
          <ac:chgData name="Thota Veera Venkta" userId="S::tveeravenkta2020@student.hult.edu::821e509d-86d1-4d40-9e04-5d92f065258c" providerId="AD" clId="Web-{9D58A818-0661-487E-B9DA-6AB07E5894B6}" dt="2021-11-06T21:16:54.573" v="809" actId="20577"/>
          <ac:spMkLst>
            <pc:docMk/>
            <pc:sldMk cId="3067822336" sldId="11589"/>
            <ac:spMk id="5" creationId="{DED771ED-0774-49A8-A234-F3DE9FDD91E6}"/>
          </ac:spMkLst>
        </pc:spChg>
        <pc:picChg chg="add mod">
          <ac:chgData name="Thota Veera Venkta" userId="S::tveeravenkta2020@student.hult.edu::821e509d-86d1-4d40-9e04-5d92f065258c" providerId="AD" clId="Web-{9D58A818-0661-487E-B9DA-6AB07E5894B6}" dt="2021-11-06T20:36:30.820" v="354" actId="1076"/>
          <ac:picMkLst>
            <pc:docMk/>
            <pc:sldMk cId="3067822336" sldId="11589"/>
            <ac:picMk id="4" creationId="{FA388CDF-BC36-4520-A862-897AFF6880F5}"/>
          </ac:picMkLst>
        </pc:picChg>
      </pc:sldChg>
      <pc:sldChg chg="addSp modSp new">
        <pc:chgData name="Thota Veera Venkta" userId="S::tveeravenkta2020@student.hult.edu::821e509d-86d1-4d40-9e04-5d92f065258c" providerId="AD" clId="Web-{9D58A818-0661-487E-B9DA-6AB07E5894B6}" dt="2021-11-06T21:30:12.655" v="950" actId="20577"/>
        <pc:sldMkLst>
          <pc:docMk/>
          <pc:sldMk cId="2678964580" sldId="11590"/>
        </pc:sldMkLst>
        <pc:spChg chg="mod">
          <ac:chgData name="Thota Veera Venkta" userId="S::tveeravenkta2020@student.hult.edu::821e509d-86d1-4d40-9e04-5d92f065258c" providerId="AD" clId="Web-{9D58A818-0661-487E-B9DA-6AB07E5894B6}" dt="2021-11-06T21:23:14.224" v="903" actId="20577"/>
          <ac:spMkLst>
            <pc:docMk/>
            <pc:sldMk cId="2678964580" sldId="11590"/>
            <ac:spMk id="3" creationId="{1464DFF9-DBA5-424E-81A7-66AC150BC1E6}"/>
          </ac:spMkLst>
        </pc:spChg>
        <pc:spChg chg="add mod">
          <ac:chgData name="Thota Veera Venkta" userId="S::tveeravenkta2020@student.hult.edu::821e509d-86d1-4d40-9e04-5d92f065258c" providerId="AD" clId="Web-{9D58A818-0661-487E-B9DA-6AB07E5894B6}" dt="2021-11-06T21:30:12.655" v="950" actId="20577"/>
          <ac:spMkLst>
            <pc:docMk/>
            <pc:sldMk cId="2678964580" sldId="11590"/>
            <ac:spMk id="5" creationId="{1B0469AF-A45F-43E8-B9DD-4DB80779C1A6}"/>
          </ac:spMkLst>
        </pc:spChg>
        <pc:picChg chg="add mod">
          <ac:chgData name="Thota Veera Venkta" userId="S::tveeravenkta2020@student.hult.edu::821e509d-86d1-4d40-9e04-5d92f065258c" providerId="AD" clId="Web-{9D58A818-0661-487E-B9DA-6AB07E5894B6}" dt="2021-11-06T20:34:56.314" v="254" actId="1076"/>
          <ac:picMkLst>
            <pc:docMk/>
            <pc:sldMk cId="2678964580" sldId="11590"/>
            <ac:picMk id="4" creationId="{4564D28F-79A3-4964-8462-FE684488F619}"/>
          </ac:picMkLst>
        </pc:picChg>
      </pc:sldChg>
      <pc:sldChg chg="addSp delSp modSp new mod setBg">
        <pc:chgData name="Thota Veera Venkta" userId="S::tveeravenkta2020@student.hult.edu::821e509d-86d1-4d40-9e04-5d92f065258c" providerId="AD" clId="Web-{9D58A818-0661-487E-B9DA-6AB07E5894B6}" dt="2021-11-06T21:23:40.505" v="943" actId="20577"/>
        <pc:sldMkLst>
          <pc:docMk/>
          <pc:sldMk cId="3405038191" sldId="11591"/>
        </pc:sldMkLst>
        <pc:spChg chg="add del mod">
          <ac:chgData name="Thota Veera Venkta" userId="S::tveeravenkta2020@student.hult.edu::821e509d-86d1-4d40-9e04-5d92f065258c" providerId="AD" clId="Web-{9D58A818-0661-487E-B9DA-6AB07E5894B6}" dt="2021-11-06T21:23:40.505" v="943" actId="20577"/>
          <ac:spMkLst>
            <pc:docMk/>
            <pc:sldMk cId="3405038191" sldId="11591"/>
            <ac:spMk id="2" creationId="{44472BAF-B0CB-47AD-AF48-4EB136ADAC74}"/>
          </ac:spMkLst>
        </pc:spChg>
        <pc:spChg chg="add del mod">
          <ac:chgData name="Thota Veera Venkta" userId="S::tveeravenkta2020@student.hult.edu::821e509d-86d1-4d40-9e04-5d92f065258c" providerId="AD" clId="Web-{9D58A818-0661-487E-B9DA-6AB07E5894B6}" dt="2021-11-06T20:57:26.831" v="723" actId="20577"/>
          <ac:spMkLst>
            <pc:docMk/>
            <pc:sldMk cId="3405038191" sldId="11591"/>
            <ac:spMk id="3" creationId="{2F54A32E-C166-4F67-9DBF-FEB1F62C8DEE}"/>
          </ac:spMkLst>
        </pc:spChg>
        <pc:spChg chg="add">
          <ac:chgData name="Thota Veera Venkta" userId="S::tveeravenkta2020@student.hult.edu::821e509d-86d1-4d40-9e04-5d92f065258c" providerId="AD" clId="Web-{9D58A818-0661-487E-B9DA-6AB07E5894B6}" dt="2021-11-06T20:31:38.428" v="160"/>
          <ac:spMkLst>
            <pc:docMk/>
            <pc:sldMk cId="3405038191" sldId="11591"/>
            <ac:spMk id="6" creationId="{DD38EE57-B708-47C9-A4A4-E25F09FAB029}"/>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9" creationId="{F3060C83-F051-4F0E-ABAD-AA0DFC48B218}"/>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11" creationId="{83C98ABE-055B-441F-B07E-44F97F083C39}"/>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13" creationId="{29FDB030-9B49-4CED-8CCD-4D99382388AC}"/>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15" creationId="{3783CA14-24A1-485C-8B30-D6A5D87987AD}"/>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17" creationId="{9A97C86A-04D6-40F7-AE84-31AB43E6A846}"/>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19" creationId="{FF9F2414-84E8-453E-B1F3-389FDE8192D9}"/>
          </ac:spMkLst>
        </pc:spChg>
        <pc:spChg chg="add del">
          <ac:chgData name="Thota Veera Venkta" userId="S::tveeravenkta2020@student.hult.edu::821e509d-86d1-4d40-9e04-5d92f065258c" providerId="AD" clId="Web-{9D58A818-0661-487E-B9DA-6AB07E5894B6}" dt="2021-11-06T20:31:36.521" v="157"/>
          <ac:spMkLst>
            <pc:docMk/>
            <pc:sldMk cId="3405038191" sldId="11591"/>
            <ac:spMk id="21" creationId="{3ECA69A1-7536-43AC-85EF-C7106179F5ED}"/>
          </ac:spMkLst>
        </pc:spChg>
        <pc:grpChg chg="add">
          <ac:chgData name="Thota Veera Venkta" userId="S::tveeravenkta2020@student.hult.edu::821e509d-86d1-4d40-9e04-5d92f065258c" providerId="AD" clId="Web-{9D58A818-0661-487E-B9DA-6AB07E5894B6}" dt="2021-11-06T20:31:38.428" v="160"/>
          <ac:grpSpMkLst>
            <pc:docMk/>
            <pc:sldMk cId="3405038191" sldId="11591"/>
            <ac:grpSpMk id="7" creationId="{57A28182-58A5-4DBB-8F64-BD944BCA8154}"/>
          </ac:grpSpMkLst>
        </pc:grpChg>
        <pc:picChg chg="add mod">
          <ac:chgData name="Thota Veera Venkta" userId="S::tveeravenkta2020@student.hult.edu::821e509d-86d1-4d40-9e04-5d92f065258c" providerId="AD" clId="Web-{9D58A818-0661-487E-B9DA-6AB07E5894B6}" dt="2021-11-06T20:33:04.120" v="161" actId="14100"/>
          <ac:picMkLst>
            <pc:docMk/>
            <pc:sldMk cId="3405038191" sldId="11591"/>
            <ac:picMk id="4" creationId="{84D8E299-6B26-43D8-9E94-81C26AB1884E}"/>
          </ac:picMkLst>
        </pc:picChg>
      </pc:sldChg>
      <pc:sldChg chg="new">
        <pc:chgData name="Thota Veera Venkta" userId="S::tveeravenkta2020@student.hult.edu::821e509d-86d1-4d40-9e04-5d92f065258c" providerId="AD" clId="Web-{9D58A818-0661-487E-B9DA-6AB07E5894B6}" dt="2021-11-06T21:39:11.860" v="951"/>
        <pc:sldMkLst>
          <pc:docMk/>
          <pc:sldMk cId="2571279601" sldId="11592"/>
        </pc:sldMkLst>
      </pc:sldChg>
      <pc:sldChg chg="addSp delSp modSp add replId">
        <pc:chgData name="Thota Veera Venkta" userId="S::tveeravenkta2020@student.hult.edu::821e509d-86d1-4d40-9e04-5d92f065258c" providerId="AD" clId="Web-{9D58A818-0661-487E-B9DA-6AB07E5894B6}" dt="2021-11-06T21:39:31.673" v="956"/>
        <pc:sldMkLst>
          <pc:docMk/>
          <pc:sldMk cId="1233791222" sldId="11593"/>
        </pc:sldMkLst>
        <pc:spChg chg="del">
          <ac:chgData name="Thota Veera Venkta" userId="S::tveeravenkta2020@student.hult.edu::821e509d-86d1-4d40-9e04-5d92f065258c" providerId="AD" clId="Web-{9D58A818-0661-487E-B9DA-6AB07E5894B6}" dt="2021-11-06T21:39:31.673" v="956"/>
          <ac:spMkLst>
            <pc:docMk/>
            <pc:sldMk cId="1233791222" sldId="11593"/>
            <ac:spMk id="47" creationId="{6E632346-151A-4C7D-9A53-77F52073FD21}"/>
          </ac:spMkLst>
        </pc:spChg>
        <pc:graphicFrameChg chg="del">
          <ac:chgData name="Thota Veera Venkta" userId="S::tveeravenkta2020@student.hult.edu::821e509d-86d1-4d40-9e04-5d92f065258c" providerId="AD" clId="Web-{9D58A818-0661-487E-B9DA-6AB07E5894B6}" dt="2021-11-06T21:39:24.079" v="954"/>
          <ac:graphicFrameMkLst>
            <pc:docMk/>
            <pc:sldMk cId="1233791222" sldId="11593"/>
            <ac:graphicFrameMk id="69" creationId="{4EE9FF68-8DF1-4A38-B609-AAACA717D08C}"/>
          </ac:graphicFrameMkLst>
        </pc:graphicFrameChg>
        <pc:picChg chg="add mod">
          <ac:chgData name="Thota Veera Venkta" userId="S::tveeravenkta2020@student.hult.edu::821e509d-86d1-4d40-9e04-5d92f065258c" providerId="AD" clId="Web-{9D58A818-0661-487E-B9DA-6AB07E5894B6}" dt="2021-11-06T21:39:27.095" v="955" actId="1076"/>
          <ac:picMkLst>
            <pc:docMk/>
            <pc:sldMk cId="1233791222" sldId="11593"/>
            <ac:picMk id="7" creationId="{4B881906-B6B3-47F2-9664-98E63EA6D84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FC8553-B2E3-4401-B19A-1A789D087BA6}" type="datetimeFigureOut">
              <a:rPr kumimoji="1" lang="ja-JP" altLang="en-US" smtClean="0"/>
              <a:t>2021/11/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92BA1B-0582-488A-BE67-4F8BA63E1557}" type="slidenum">
              <a:rPr kumimoji="1" lang="ja-JP" altLang="en-US" smtClean="0"/>
              <a:t>‹N›</a:t>
            </a:fld>
            <a:endParaRPr kumimoji="1" lang="ja-JP" altLang="en-US"/>
          </a:p>
        </p:txBody>
      </p:sp>
    </p:spTree>
    <p:extLst>
      <p:ext uri="{BB962C8B-B14F-4D97-AF65-F5344CB8AC3E}">
        <p14:creationId xmlns:p14="http://schemas.microsoft.com/office/powerpoint/2010/main" val="56544131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7D24248E-903F-9741-9BBF-E486C4150615}" type="slidenum">
              <a:rPr kumimoji="1" lang="ja-JP" altLang="en-US" smtClean="0"/>
              <a:t>2</a:t>
            </a:fld>
            <a:endParaRPr kumimoji="1" lang="ja-JP" altLang="en-US"/>
          </a:p>
        </p:txBody>
      </p:sp>
    </p:spTree>
    <p:extLst>
      <p:ext uri="{BB962C8B-B14F-4D97-AF65-F5344CB8AC3E}">
        <p14:creationId xmlns:p14="http://schemas.microsoft.com/office/powerpoint/2010/main" val="2430029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7D24248E-903F-9741-9BBF-E486C4150615}" type="slidenum">
              <a:rPr kumimoji="1" lang="ja-JP" altLang="en-US" smtClean="0"/>
              <a:t>4</a:t>
            </a:fld>
            <a:endParaRPr kumimoji="1" lang="ja-JP" altLang="en-US"/>
          </a:p>
        </p:txBody>
      </p:sp>
    </p:spTree>
    <p:extLst>
      <p:ext uri="{BB962C8B-B14F-4D97-AF65-F5344CB8AC3E}">
        <p14:creationId xmlns:p14="http://schemas.microsoft.com/office/powerpoint/2010/main" val="3263304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7D24248E-903F-9741-9BBF-E486C4150615}" type="slidenum">
              <a:rPr kumimoji="1" lang="ja-JP" altLang="en-US" smtClean="0"/>
              <a:t>5</a:t>
            </a:fld>
            <a:endParaRPr kumimoji="1" lang="ja-JP" altLang="en-US"/>
          </a:p>
        </p:txBody>
      </p:sp>
    </p:spTree>
    <p:extLst>
      <p:ext uri="{BB962C8B-B14F-4D97-AF65-F5344CB8AC3E}">
        <p14:creationId xmlns:p14="http://schemas.microsoft.com/office/powerpoint/2010/main" val="2878200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cs typeface="Calibri"/>
              </a:rPr>
              <a:t>Pub</a:t>
            </a:r>
          </a:p>
          <a:p>
            <a:r>
              <a:rPr lang="en-US">
                <a:latin typeface="Calibri"/>
                <a:cs typeface="Calibri"/>
              </a:rPr>
              <a:t>Cam</a:t>
            </a:r>
          </a:p>
          <a:p>
            <a:endParaRPr lang="en-US">
              <a:latin typeface="Calibri"/>
              <a:cs typeface="Calibri"/>
            </a:endParaRPr>
          </a:p>
        </p:txBody>
      </p:sp>
      <p:sp>
        <p:nvSpPr>
          <p:cNvPr id="4" name="Slide Number Placeholder 3"/>
          <p:cNvSpPr>
            <a:spLocks noGrp="1"/>
          </p:cNvSpPr>
          <p:nvPr>
            <p:ph type="sldNum" sz="quarter" idx="5"/>
          </p:nvPr>
        </p:nvSpPr>
        <p:spPr/>
        <p:txBody>
          <a:bodyPr/>
          <a:lstStyle/>
          <a:p>
            <a:fld id="{7092BA1B-0582-488A-BE67-4F8BA63E1557}" type="slidenum">
              <a:rPr kumimoji="1" lang="ja-JP" altLang="en-US" smtClean="0"/>
              <a:t>6</a:t>
            </a:fld>
            <a:endParaRPr kumimoji="1" lang="ja-JP" altLang="en-US"/>
          </a:p>
        </p:txBody>
      </p:sp>
    </p:spTree>
    <p:extLst>
      <p:ext uri="{BB962C8B-B14F-4D97-AF65-F5344CB8AC3E}">
        <p14:creationId xmlns:p14="http://schemas.microsoft.com/office/powerpoint/2010/main" val="2596939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91F47864-065E-4EEF-88CA-593399475000}" type="slidenum">
              <a:rPr kumimoji="1" lang="ja-JP" altLang="en-US" smtClean="0"/>
              <a:t>7</a:t>
            </a:fld>
            <a:endParaRPr kumimoji="1" lang="ja-JP" altLang="en-US"/>
          </a:p>
        </p:txBody>
      </p:sp>
    </p:spTree>
    <p:extLst>
      <p:ext uri="{BB962C8B-B14F-4D97-AF65-F5344CB8AC3E}">
        <p14:creationId xmlns:p14="http://schemas.microsoft.com/office/powerpoint/2010/main" val="2149333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7.tif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4FAC00C-0071-43CA-8AB5-904999DD9464}"/>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99ED63D-C108-4054-8F6E-5F9C951EC8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45FF36B-F430-4A49-A8CB-B169C7688390}"/>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9F465281-0182-430F-9789-3AA51009A84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0AAD464-EE3F-4A8E-8725-E095359BB91A}"/>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34700717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4C43039-F6C0-4347-8B6F-1FAAB9A60C5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6C17F5B-FE88-4ACE-BAB0-0520BBCB5B2D}"/>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08859B7-73D3-441E-AE6B-DBCCD9B4F0EA}"/>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3D411EA4-155D-4068-AB71-D43A0689288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A51BA65-DEEC-4113-8AD7-D244A5DFE7E9}"/>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24633672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057DAB-50DE-4410-92CA-33D665AE874D}"/>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FC8FB19-9103-4FEF-A6DE-764D1F0DB919}"/>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0BF23EE-63CA-4E74-9D03-21380E122C76}"/>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B2DF0C6C-0557-46B8-8C98-20A5A5026B3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A4EEA9-B2BE-428C-83A4-B1B9EDA4CB09}"/>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40218946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白背景">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42FF8924-1FF6-4ED8-8B0D-929111F5EDFE}"/>
              </a:ext>
            </a:extLst>
          </p:cNvPr>
          <p:cNvGraphicFramePr>
            <a:graphicFrameLocks noChangeAspect="1"/>
          </p:cNvGraphicFramePr>
          <p:nvPr>
            <p:custDataLst>
              <p:tags r:id="rId2"/>
            </p:custDataLst>
            <p:extLst>
              <p:ext uri="{D42A27DB-BD31-4B8C-83A1-F6EECF244321}">
                <p14:modId xmlns:p14="http://schemas.microsoft.com/office/powerpoint/2010/main" val="101064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306" imgH="306" progId="TCLayout.ActiveDocument.1">
                  <p:embed/>
                </p:oleObj>
              </mc:Choice>
              <mc:Fallback>
                <p:oleObj name="think-cell Slide" r:id="rId4" imgW="306" imgH="306" progId="TCLayout.ActiveDocument.1">
                  <p:embed/>
                  <p:pic>
                    <p:nvPicPr>
                      <p:cNvPr id="5" name="オブジェクト 4" hidden="1">
                        <a:extLst>
                          <a:ext uri="{FF2B5EF4-FFF2-40B4-BE49-F238E27FC236}">
                            <a16:creationId xmlns:a16="http://schemas.microsoft.com/office/drawing/2014/main" id="{42FF8924-1FF6-4ED8-8B0D-929111F5E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2322717F-7F1B-1E4D-A821-8286853B5571}"/>
              </a:ext>
            </a:extLst>
          </p:cNvPr>
          <p:cNvSpPr/>
          <p:nvPr/>
        </p:nvSpPr>
        <p:spPr>
          <a:xfrm flipV="1">
            <a:off x="0" y="-1"/>
            <a:ext cx="12192000" cy="572543"/>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221410" y="90344"/>
            <a:ext cx="10051909" cy="410119"/>
          </a:xfrm>
          <a:prstGeom prst="rect">
            <a:avLst/>
          </a:prstGeom>
        </p:spPr>
        <p:txBody>
          <a:bodyPr vert="horz" lIns="0" rIns="0">
            <a:noAutofit/>
          </a:bodyPr>
          <a:lstStyle>
            <a:lvl1pPr>
              <a:defRPr sz="1600" b="0" i="0">
                <a:solidFill>
                  <a:schemeClr val="tx1">
                    <a:lumMod val="60000"/>
                    <a:lumOff val="40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
        <p:nvSpPr>
          <p:cNvPr id="12" name="フッター プレースホルダー 1">
            <a:extLst>
              <a:ext uri="{FF2B5EF4-FFF2-40B4-BE49-F238E27FC236}">
                <a16:creationId xmlns:a16="http://schemas.microsoft.com/office/drawing/2014/main" id="{88A398D2-5895-DB4D-BBD7-2CBE922DC2A1}"/>
              </a:ext>
            </a:extLst>
          </p:cNvPr>
          <p:cNvSpPr txBox="1">
            <a:spLocks/>
          </p:cNvSpPr>
          <p:nvPr/>
        </p:nvSpPr>
        <p:spPr>
          <a:xfrm>
            <a:off x="382048" y="6450433"/>
            <a:ext cx="5399676" cy="252355"/>
          </a:xfrm>
          <a:prstGeom prst="rect">
            <a:avLst/>
          </a:prstGeom>
        </p:spPr>
        <p:txBody>
          <a:bodyPr l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algn="l"/>
            <a:r>
              <a:rPr lang="en-US" altLang="ja" sz="1200" b="0">
                <a:solidFill>
                  <a:schemeClr val="bg1">
                    <a:lumMod val="50000"/>
                    <a:alpha val="50000"/>
                  </a:schemeClr>
                </a:solidFill>
                <a:latin typeface="Meiryo UI" panose="020B0604030504040204" pitchFamily="50" charset="-128"/>
                <a:ea typeface="Meiryo UI" panose="020B0604030504040204" pitchFamily="50" charset="-128"/>
                <a:sym typeface="Meiryo UI" panose="020B0604030504040204" pitchFamily="50" charset="-128"/>
              </a:rPr>
              <a:t>Copyright © by Quest Inc. All rights reserved.</a:t>
            </a:r>
            <a:endParaRPr lang="en-US" altLang="ja-JP" sz="1200" b="0">
              <a:solidFill>
                <a:schemeClr val="bg1">
                  <a:lumMod val="50000"/>
                  <a:alpha val="50000"/>
                </a:schemeClr>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9" name="図 8" descr="図形&#10;&#10;中程度の精度で自動的に生成された説明">
            <a:extLst>
              <a:ext uri="{FF2B5EF4-FFF2-40B4-BE49-F238E27FC236}">
                <a16:creationId xmlns:a16="http://schemas.microsoft.com/office/drawing/2014/main" id="{63286FFC-7FCA-F441-AEA2-71494D0DB4A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924987" y="182345"/>
            <a:ext cx="964323" cy="246210"/>
          </a:xfrm>
          <a:prstGeom prst="rect">
            <a:avLst/>
          </a:prstGeom>
        </p:spPr>
      </p:pic>
      <p:sp>
        <p:nvSpPr>
          <p:cNvPr id="14" name="テキスト プレースホルダー 13">
            <a:extLst>
              <a:ext uri="{FF2B5EF4-FFF2-40B4-BE49-F238E27FC236}">
                <a16:creationId xmlns:a16="http://schemas.microsoft.com/office/drawing/2014/main" id="{C84835F5-A684-48A2-80DC-04B8A5529A82}"/>
              </a:ext>
            </a:extLst>
          </p:cNvPr>
          <p:cNvSpPr>
            <a:spLocks noGrp="1"/>
          </p:cNvSpPr>
          <p:nvPr>
            <p:ph type="body" sz="quarter" idx="13"/>
          </p:nvPr>
        </p:nvSpPr>
        <p:spPr>
          <a:xfrm>
            <a:off x="508563" y="751847"/>
            <a:ext cx="11159575" cy="419837"/>
          </a:xfrm>
          <a:noFill/>
          <a:ln>
            <a:noFill/>
          </a:ln>
        </p:spPr>
        <p:txBody>
          <a:bodyPr wrap="none">
            <a:noAutofit/>
          </a:bodyPr>
          <a:lstStyle>
            <a:lvl1pPr marL="0" indent="0" algn="l" defTabSz="914400" rtl="0" eaLnBrk="1" latinLnBrk="0" hangingPunct="1">
              <a:lnSpc>
                <a:spcPct val="130000"/>
              </a:lnSpc>
              <a:spcBef>
                <a:spcPct val="0"/>
              </a:spcBef>
              <a:buNone/>
              <a:defRPr kumimoji="1" lang="ja-JP" altLang="en-US" sz="2000" b="1" kern="1200" dirty="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a:lvl2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2pPr>
            <a:lvl3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3pPr>
            <a:lvl4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4pPr>
            <a:lvl5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10">
            <a:extLst>
              <a:ext uri="{FF2B5EF4-FFF2-40B4-BE49-F238E27FC236}">
                <a16:creationId xmlns:a16="http://schemas.microsoft.com/office/drawing/2014/main" id="{8CAAAE02-C565-45F3-B442-E73B2DA119FF}"/>
              </a:ext>
            </a:extLst>
          </p:cNvPr>
          <p:cNvSpPr>
            <a:spLocks noGrp="1"/>
          </p:cNvSpPr>
          <p:nvPr>
            <p:ph type="sldNum" sz="quarter" idx="10"/>
          </p:nvPr>
        </p:nvSpPr>
        <p:spPr>
          <a:xfrm>
            <a:off x="10924987" y="6476599"/>
            <a:ext cx="1160083" cy="365125"/>
          </a:xfrm>
          <a:prstGeom prst="rect">
            <a:avLst/>
          </a:prstGeom>
        </p:spPr>
        <p:txBody>
          <a:bodyPr/>
          <a:lstStyle>
            <a:lvl1pPr>
              <a:defRPr>
                <a:solidFill>
                  <a:schemeClr val="bg2">
                    <a:lumMod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fld id="{3BCBF16C-69A9-1243-8D46-92F9AEF730AE}" type="slidenum">
              <a:rPr lang="ja-JP" altLang="en-US" smtClean="0"/>
              <a:pPr/>
              <a:t>‹N›</a:t>
            </a:fld>
            <a:endParaRPr lang="ja-JP" altLang="en-US"/>
          </a:p>
        </p:txBody>
      </p:sp>
    </p:spTree>
    <p:extLst>
      <p:ext uri="{BB962C8B-B14F-4D97-AF65-F5344CB8AC3E}">
        <p14:creationId xmlns:p14="http://schemas.microsoft.com/office/powerpoint/2010/main" val="3980318745"/>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52A95B-BBED-4283-91F6-9C7E1BC7FDF2}"/>
              </a:ext>
            </a:extLst>
          </p:cNvPr>
          <p:cNvGraphicFramePr>
            <a:graphicFrameLocks noChangeAspect="1"/>
          </p:cNvGraphicFramePr>
          <p:nvPr>
            <p:custDataLst>
              <p:tags r:id="rId2"/>
            </p:custDataLst>
            <p:extLst>
              <p:ext uri="{D42A27DB-BD31-4B8C-83A1-F6EECF244321}">
                <p14:modId xmlns:p14="http://schemas.microsoft.com/office/powerpoint/2010/main" val="210384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306" imgH="308" progId="TCLayout.ActiveDocument.1">
                  <p:embed/>
                </p:oleObj>
              </mc:Choice>
              <mc:Fallback>
                <p:oleObj name="think-cell Slide" r:id="rId5" imgW="306" imgH="308" progId="TCLayout.ActiveDocument.1">
                  <p:embed/>
                  <p:pic>
                    <p:nvPicPr>
                      <p:cNvPr id="4" name="オブジェクト 3" hidden="1">
                        <a:extLst>
                          <a:ext uri="{FF2B5EF4-FFF2-40B4-BE49-F238E27FC236}">
                            <a16:creationId xmlns:a16="http://schemas.microsoft.com/office/drawing/2014/main" id="{B852A95B-BBED-4283-91F6-9C7E1BC7FD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F961B32D-07A8-4347-B810-FDD10965B722}"/>
              </a:ext>
            </a:extLst>
          </p:cNvPr>
          <p:cNvSpPr/>
          <p:nvPr/>
        </p:nvSpPr>
        <p:spPr>
          <a:xfrm>
            <a:off x="0" y="0"/>
            <a:ext cx="12192000" cy="114615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タイトル 3">
            <a:extLst>
              <a:ext uri="{FF2B5EF4-FFF2-40B4-BE49-F238E27FC236}">
                <a16:creationId xmlns:a16="http://schemas.microsoft.com/office/drawing/2014/main" id="{E8E6B467-4122-458F-B303-31CEBC95E99D}"/>
              </a:ext>
            </a:extLst>
          </p:cNvPr>
          <p:cNvSpPr txBox="1">
            <a:spLocks/>
          </p:cNvSpPr>
          <p:nvPr/>
        </p:nvSpPr>
        <p:spPr>
          <a:xfrm>
            <a:off x="1089659" y="780143"/>
            <a:ext cx="3319055" cy="908347"/>
          </a:xfrm>
          <a:prstGeom prst="rect">
            <a:avLst/>
          </a:prstGeom>
        </p:spPr>
        <p:txBody>
          <a:bodyP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b="1" i="0">
                <a:solidFill>
                  <a:schemeClr val="tx1">
                    <a:lumMod val="25000"/>
                    <a:lumOff val="75000"/>
                  </a:schemeClr>
                </a:solidFill>
                <a:latin typeface="Century Gothic" panose="020B0502020202020204" pitchFamily="34" charset="0"/>
                <a:ea typeface="Meiryo UI" panose="020B0604030504040204" pitchFamily="50" charset="-128"/>
                <a:sym typeface="Meiryo UI" panose="020B0604030504040204" pitchFamily="50" charset="-128"/>
              </a:rPr>
              <a:t>Agenda</a:t>
            </a:r>
            <a:endParaRPr lang="ja-JP" altLang="en-US" sz="2000" b="1" i="0">
              <a:solidFill>
                <a:schemeClr val="tx1">
                  <a:lumMod val="25000"/>
                  <a:lumOff val="75000"/>
                </a:schemeClr>
              </a:solidFill>
              <a:latin typeface="Century Gothic" panose="020B0502020202020204" pitchFamily="34" charset="0"/>
              <a:ea typeface="Meiryo UI" panose="020B0604030504040204" pitchFamily="50" charset="-128"/>
              <a:sym typeface="Meiryo UI" panose="020B0604030504040204" pitchFamily="50" charset="-128"/>
            </a:endParaRPr>
          </a:p>
        </p:txBody>
      </p:sp>
      <p:pic>
        <p:nvPicPr>
          <p:cNvPr id="6" name="図 5">
            <a:extLst>
              <a:ext uri="{FF2B5EF4-FFF2-40B4-BE49-F238E27FC236}">
                <a16:creationId xmlns:a16="http://schemas.microsoft.com/office/drawing/2014/main" id="{F11B789C-C656-41F1-A457-BE7A8DE768A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4642" b="4593"/>
          <a:stretch/>
        </p:blipFill>
        <p:spPr>
          <a:xfrm>
            <a:off x="7832272" y="3429000"/>
            <a:ext cx="4359728" cy="3429000"/>
          </a:xfrm>
          <a:prstGeom prst="rect">
            <a:avLst/>
          </a:prstGeom>
        </p:spPr>
      </p:pic>
      <p:pic>
        <p:nvPicPr>
          <p:cNvPr id="16" name="図 15" descr="図形&#10;&#10;中程度の精度で自動的に生成された説明">
            <a:extLst>
              <a:ext uri="{FF2B5EF4-FFF2-40B4-BE49-F238E27FC236}">
                <a16:creationId xmlns:a16="http://schemas.microsoft.com/office/drawing/2014/main" id="{8874A527-1599-4762-9472-49BB723FAD0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73346" y="223437"/>
            <a:ext cx="1100435" cy="280962"/>
          </a:xfrm>
          <a:prstGeom prst="rect">
            <a:avLst/>
          </a:prstGeom>
        </p:spPr>
      </p:pic>
      <p:sp>
        <p:nvSpPr>
          <p:cNvPr id="8" name="スライド番号プレースホルダー 10">
            <a:extLst>
              <a:ext uri="{FF2B5EF4-FFF2-40B4-BE49-F238E27FC236}">
                <a16:creationId xmlns:a16="http://schemas.microsoft.com/office/drawing/2014/main" id="{B6686B24-4051-4008-8649-FA7662E7DD6B}"/>
              </a:ext>
            </a:extLst>
          </p:cNvPr>
          <p:cNvSpPr>
            <a:spLocks noGrp="1"/>
          </p:cNvSpPr>
          <p:nvPr>
            <p:ph type="sldNum" sz="quarter" idx="10"/>
          </p:nvPr>
        </p:nvSpPr>
        <p:spPr>
          <a:xfrm>
            <a:off x="10924987" y="6476599"/>
            <a:ext cx="1160083" cy="365125"/>
          </a:xfrm>
          <a:prstGeom prst="rect">
            <a:avLst/>
          </a:prstGeom>
        </p:spPr>
        <p:txBody>
          <a:bodyPr/>
          <a:lstStyle>
            <a:lvl1pPr>
              <a:defRPr>
                <a:solidFill>
                  <a:schemeClr val="bg2">
                    <a:lumMod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fld id="{E479777B-F5DF-4157-96ED-74BFD422C06E}" type="slidenum">
              <a:rPr lang="ja-JP" altLang="en-US" smtClean="0"/>
              <a:pPr/>
              <a:t>‹N›</a:t>
            </a:fld>
            <a:endParaRPr lang="ja-JP" altLang="en-US"/>
          </a:p>
        </p:txBody>
      </p:sp>
      <p:graphicFrame>
        <p:nvGraphicFramePr>
          <p:cNvPr id="9" name="オブジェクト 8" hidden="1">
            <a:extLst>
              <a:ext uri="{FF2B5EF4-FFF2-40B4-BE49-F238E27FC236}">
                <a16:creationId xmlns:a16="http://schemas.microsoft.com/office/drawing/2014/main" id="{236A7A14-6BE8-4541-B756-074E1E5E54CC}"/>
              </a:ext>
            </a:extLst>
          </p:cNvPr>
          <p:cNvGraphicFramePr>
            <a:graphicFrameLocks noChangeAspect="1"/>
          </p:cNvGraphicFramePr>
          <p:nvPr userDrawn="1">
            <p:custDataLst>
              <p:tags r:id="rId3"/>
            </p:custDataLst>
            <p:extLst>
              <p:ext uri="{D42A27DB-BD31-4B8C-83A1-F6EECF244321}">
                <p14:modId xmlns:p14="http://schemas.microsoft.com/office/powerpoint/2010/main" val="528537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スライド" r:id="rId9" imgW="306" imgH="308" progId="TCLayout.ActiveDocument.1">
                  <p:embed/>
                </p:oleObj>
              </mc:Choice>
              <mc:Fallback>
                <p:oleObj name="think-cell スライド" r:id="rId9" imgW="306" imgH="308" progId="TCLayout.ActiveDocument.1">
                  <p:embed/>
                  <p:pic>
                    <p:nvPicPr>
                      <p:cNvPr id="9" name="オブジェクト 8" hidden="1">
                        <a:extLst>
                          <a:ext uri="{FF2B5EF4-FFF2-40B4-BE49-F238E27FC236}">
                            <a16:creationId xmlns:a16="http://schemas.microsoft.com/office/drawing/2014/main" id="{236A7A14-6BE8-4541-B756-074E1E5E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正方形/長方形 9">
            <a:extLst>
              <a:ext uri="{FF2B5EF4-FFF2-40B4-BE49-F238E27FC236}">
                <a16:creationId xmlns:a16="http://schemas.microsoft.com/office/drawing/2014/main" id="{CAC49EC9-1890-E142-8CC4-F0CD81B338F3}"/>
              </a:ext>
            </a:extLst>
          </p:cNvPr>
          <p:cNvSpPr/>
          <p:nvPr userDrawn="1"/>
        </p:nvSpPr>
        <p:spPr>
          <a:xfrm>
            <a:off x="0" y="0"/>
            <a:ext cx="12192000" cy="114615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11" name="タイトル 3">
            <a:extLst>
              <a:ext uri="{FF2B5EF4-FFF2-40B4-BE49-F238E27FC236}">
                <a16:creationId xmlns:a16="http://schemas.microsoft.com/office/drawing/2014/main" id="{90B1C380-8A13-1944-81F2-9D60D3D47E42}"/>
              </a:ext>
            </a:extLst>
          </p:cNvPr>
          <p:cNvSpPr txBox="1">
            <a:spLocks/>
          </p:cNvSpPr>
          <p:nvPr userDrawn="1"/>
        </p:nvSpPr>
        <p:spPr>
          <a:xfrm>
            <a:off x="1089659" y="780143"/>
            <a:ext cx="3319055" cy="908347"/>
          </a:xfrm>
          <a:prstGeom prst="rect">
            <a:avLst/>
          </a:prstGeom>
        </p:spPr>
        <p:txBody>
          <a:bodyP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b="1" i="0">
                <a:solidFill>
                  <a:schemeClr val="tx1">
                    <a:lumMod val="25000"/>
                    <a:lumOff val="75000"/>
                  </a:schemeClr>
                </a:solidFill>
                <a:latin typeface="Century Gothic" panose="020B0502020202020204" pitchFamily="34" charset="0"/>
                <a:ea typeface="Meiryo UI" panose="020B0604030504040204" pitchFamily="50" charset="-128"/>
                <a:sym typeface="Meiryo UI" panose="020B0604030504040204" pitchFamily="50" charset="-128"/>
              </a:rPr>
              <a:t>Agenda</a:t>
            </a:r>
            <a:endParaRPr lang="ja-JP" altLang="en-US" sz="2000" b="1" i="0">
              <a:solidFill>
                <a:schemeClr val="tx1">
                  <a:lumMod val="25000"/>
                  <a:lumOff val="75000"/>
                </a:schemeClr>
              </a:solidFill>
              <a:latin typeface="Century Gothic" panose="020B0502020202020204" pitchFamily="34" charset="0"/>
              <a:ea typeface="Meiryo UI" panose="020B0604030504040204" pitchFamily="50" charset="-128"/>
              <a:sym typeface="Meiryo UI" panose="020B0604030504040204" pitchFamily="50" charset="-128"/>
            </a:endParaRPr>
          </a:p>
        </p:txBody>
      </p:sp>
      <p:pic>
        <p:nvPicPr>
          <p:cNvPr id="12" name="図 11">
            <a:extLst>
              <a:ext uri="{FF2B5EF4-FFF2-40B4-BE49-F238E27FC236}">
                <a16:creationId xmlns:a16="http://schemas.microsoft.com/office/drawing/2014/main" id="{EF6A06F7-AB15-EB40-96B0-4CCB81025D3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4642" b="4593"/>
          <a:stretch/>
        </p:blipFill>
        <p:spPr>
          <a:xfrm>
            <a:off x="7832272" y="3429000"/>
            <a:ext cx="4359728" cy="3429000"/>
          </a:xfrm>
          <a:prstGeom prst="rect">
            <a:avLst/>
          </a:prstGeom>
        </p:spPr>
      </p:pic>
      <p:pic>
        <p:nvPicPr>
          <p:cNvPr id="13" name="図 12" descr="図形&#10;&#10;中程度の精度で自動的に生成された説明">
            <a:extLst>
              <a:ext uri="{FF2B5EF4-FFF2-40B4-BE49-F238E27FC236}">
                <a16:creationId xmlns:a16="http://schemas.microsoft.com/office/drawing/2014/main" id="{9467E5AA-137A-4548-B1D6-9CBCDBB8F5C6}"/>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673346" y="223437"/>
            <a:ext cx="1100435" cy="280962"/>
          </a:xfrm>
          <a:prstGeom prst="rect">
            <a:avLst/>
          </a:prstGeom>
        </p:spPr>
      </p:pic>
    </p:spTree>
    <p:extLst>
      <p:ext uri="{BB962C8B-B14F-4D97-AF65-F5344CB8AC3E}">
        <p14:creationId xmlns:p14="http://schemas.microsoft.com/office/powerpoint/2010/main" val="105466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w/t Client Logo)">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6DC10557-ECFB-1E4D-9A18-0BCCEE14AA99}"/>
              </a:ext>
            </a:extLst>
          </p:cNvPr>
          <p:cNvSpPr/>
          <p:nvPr userDrawn="1"/>
        </p:nvSpPr>
        <p:spPr>
          <a:xfrm>
            <a:off x="0" y="5381835"/>
            <a:ext cx="12192000" cy="1476165"/>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 name="図 2">
            <a:extLst>
              <a:ext uri="{FF2B5EF4-FFF2-40B4-BE49-F238E27FC236}">
                <a16:creationId xmlns:a16="http://schemas.microsoft.com/office/drawing/2014/main" id="{8F89B74A-4C03-3F47-8ADE-C48DA575CE81}"/>
              </a:ext>
            </a:extLst>
          </p:cNvPr>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8" name="オブジェクト 17" hidden="1">
            <a:extLst>
              <a:ext uri="{FF2B5EF4-FFF2-40B4-BE49-F238E27FC236}">
                <a16:creationId xmlns:a16="http://schemas.microsoft.com/office/drawing/2014/main" id="{D2747323-B680-4A53-8E03-7A85D630F0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TCLayout.ActiveDocument.1">
                  <p:embed/>
                </p:oleObj>
              </mc:Choice>
              <mc:Fallback>
                <p:oleObj name="think-cell Slide" r:id="rId5" imgW="360" imgH="360" progId="TCLayout.ActiveDocument.1">
                  <p:embed/>
                  <p:pic>
                    <p:nvPicPr>
                      <p:cNvPr id="18" name="オブジェクト 17" hidden="1">
                        <a:extLst>
                          <a:ext uri="{FF2B5EF4-FFF2-40B4-BE49-F238E27FC236}">
                            <a16:creationId xmlns:a16="http://schemas.microsoft.com/office/drawing/2014/main" id="{D2747323-B680-4A53-8E03-7A85D630F0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図プレースホルダー 5">
            <a:extLst>
              <a:ext uri="{FF2B5EF4-FFF2-40B4-BE49-F238E27FC236}">
                <a16:creationId xmlns:a16="http://schemas.microsoft.com/office/drawing/2014/main" id="{1C21C6EF-79F6-4DAD-8874-8EC5146B097E}"/>
              </a:ext>
            </a:extLst>
          </p:cNvPr>
          <p:cNvSpPr>
            <a:spLocks noGrp="1"/>
          </p:cNvSpPr>
          <p:nvPr>
            <p:ph type="pic" sz="quarter" idx="10" hasCustomPrompt="1"/>
          </p:nvPr>
        </p:nvSpPr>
        <p:spPr>
          <a:xfrm>
            <a:off x="1121134" y="1561170"/>
            <a:ext cx="2656795" cy="799177"/>
          </a:xfrm>
        </p:spPr>
        <p:txBody>
          <a:bodyPr anchor="ctr">
            <a:normAutofit/>
          </a:bodyPr>
          <a:lstStyle>
            <a:lvl1pPr marL="0" indent="0" algn="l" defTabSz="914400" rtl="0" eaLnBrk="1" latinLnBrk="0" hangingPunct="1">
              <a:lnSpc>
                <a:spcPct val="100000"/>
              </a:lnSpc>
              <a:spcBef>
                <a:spcPct val="0"/>
              </a:spcBef>
              <a:buNone/>
              <a:defRPr kumimoji="1" lang="en-US" sz="2400" b="1" i="0" kern="1200" dirty="0">
                <a:solidFill>
                  <a:schemeClr val="bg1"/>
                </a:solidFill>
                <a:latin typeface="Yu Gothic" panose="020B0400000000000000" pitchFamily="34" charset="-128"/>
                <a:ea typeface="Yu Gothic" panose="020B0400000000000000" pitchFamily="34" charset="-128"/>
                <a:cs typeface="+mj-cs"/>
              </a:defRPr>
            </a:lvl1pPr>
          </a:lstStyle>
          <a:p>
            <a:r>
              <a:rPr kumimoji="1" lang="ja-JP" altLang="en-US"/>
              <a:t>クライアントロゴ</a:t>
            </a:r>
            <a:endParaRPr kumimoji="1" lang="en-US"/>
          </a:p>
        </p:txBody>
      </p:sp>
      <p:sp>
        <p:nvSpPr>
          <p:cNvPr id="26" name="テキスト プレースホルダー 13">
            <a:extLst>
              <a:ext uri="{FF2B5EF4-FFF2-40B4-BE49-F238E27FC236}">
                <a16:creationId xmlns:a16="http://schemas.microsoft.com/office/drawing/2014/main" id="{48228E4F-A6A1-4A50-BB48-8C32AE9004E0}"/>
              </a:ext>
            </a:extLst>
          </p:cNvPr>
          <p:cNvSpPr>
            <a:spLocks noGrp="1"/>
          </p:cNvSpPr>
          <p:nvPr>
            <p:ph type="body" sz="quarter" idx="12" hasCustomPrompt="1"/>
          </p:nvPr>
        </p:nvSpPr>
        <p:spPr>
          <a:xfrm>
            <a:off x="1121134" y="3769963"/>
            <a:ext cx="8561650" cy="463845"/>
          </a:xfrm>
        </p:spPr>
        <p:txBody>
          <a:bodyPr vert="horz" lIns="0" tIns="45720" rIns="91440" bIns="45720" rtlCol="0" anchor="t">
            <a:spAutoFit/>
          </a:bodyPr>
          <a:lstStyle>
            <a:lvl1pPr>
              <a:defRPr lang="ja-JP" altLang="en-US" sz="2000" b="1" i="0" dirty="0" smtClean="0">
                <a:solidFill>
                  <a:schemeClr val="tx1">
                    <a:lumMod val="90000"/>
                    <a:lumOff val="10000"/>
                  </a:schemeClr>
                </a:solidFill>
                <a:latin typeface="Yu Gothic" panose="020B0400000000000000" pitchFamily="34" charset="-128"/>
                <a:ea typeface="Yu Gothic" panose="020B0400000000000000" pitchFamily="34" charset="-128"/>
                <a:cs typeface="+mj-cs"/>
              </a:defRPr>
            </a:lvl1pPr>
          </a:lstStyle>
          <a:p>
            <a:pPr marL="0" lvl="0" indent="0">
              <a:lnSpc>
                <a:spcPct val="130000"/>
              </a:lnSpc>
              <a:spcBef>
                <a:spcPct val="0"/>
              </a:spcBef>
              <a:buNone/>
            </a:pPr>
            <a:r>
              <a:rPr kumimoji="1" lang="ja-JP" altLang="en-US"/>
              <a:t>サブタイトル</a:t>
            </a:r>
          </a:p>
        </p:txBody>
      </p:sp>
      <p:sp>
        <p:nvSpPr>
          <p:cNvPr id="27" name="テキスト プレースホルダー 23">
            <a:extLst>
              <a:ext uri="{FF2B5EF4-FFF2-40B4-BE49-F238E27FC236}">
                <a16:creationId xmlns:a16="http://schemas.microsoft.com/office/drawing/2014/main" id="{BD907884-7231-4968-AE19-D7CDAC26EB2D}"/>
              </a:ext>
            </a:extLst>
          </p:cNvPr>
          <p:cNvSpPr>
            <a:spLocks noGrp="1"/>
          </p:cNvSpPr>
          <p:nvPr>
            <p:ph type="body" sz="quarter" idx="13" hasCustomPrompt="1"/>
          </p:nvPr>
        </p:nvSpPr>
        <p:spPr>
          <a:xfrm>
            <a:off x="1121134" y="2967970"/>
            <a:ext cx="8561650" cy="594906"/>
          </a:xfrm>
        </p:spPr>
        <p:txBody>
          <a:bodyPr lIns="0" anchor="ctr"/>
          <a:lstStyle>
            <a:lvl1pPr marL="0" indent="0" algn="l" defTabSz="914400" rtl="0" eaLnBrk="1" latinLnBrk="0" hangingPunct="1">
              <a:lnSpc>
                <a:spcPct val="100000"/>
              </a:lnSpc>
              <a:spcBef>
                <a:spcPct val="0"/>
              </a:spcBef>
              <a:buNone/>
              <a:defRPr kumimoji="1" lang="ja-JP" altLang="en-US" sz="3600" b="1" i="0" kern="1200" dirty="0" smtClean="0">
                <a:solidFill>
                  <a:schemeClr val="tx1">
                    <a:lumMod val="90000"/>
                    <a:lumOff val="10000"/>
                  </a:schemeClr>
                </a:solidFill>
                <a:latin typeface="Yu Gothic" panose="020B0400000000000000" pitchFamily="34" charset="-128"/>
                <a:ea typeface="Yu Gothic" panose="020B0400000000000000" pitchFamily="34" charset="-128"/>
                <a:cs typeface="+mj-cs"/>
              </a:defRPr>
            </a:lvl1pPr>
          </a:lstStyle>
          <a:p>
            <a:pPr lvl="0"/>
            <a:r>
              <a:rPr kumimoji="1" lang="ja-JP" altLang="en-US"/>
              <a:t>タイトルを入力</a:t>
            </a:r>
            <a:endParaRPr kumimoji="1" lang="en-US"/>
          </a:p>
        </p:txBody>
      </p:sp>
      <p:sp>
        <p:nvSpPr>
          <p:cNvPr id="28" name="テキスト プレースホルダー 13">
            <a:extLst>
              <a:ext uri="{FF2B5EF4-FFF2-40B4-BE49-F238E27FC236}">
                <a16:creationId xmlns:a16="http://schemas.microsoft.com/office/drawing/2014/main" id="{2F2BB64E-9632-41E3-9BC2-DEA3E57F1315}"/>
              </a:ext>
            </a:extLst>
          </p:cNvPr>
          <p:cNvSpPr>
            <a:spLocks noGrp="1"/>
          </p:cNvSpPr>
          <p:nvPr>
            <p:ph type="body" sz="quarter" idx="11" hasCustomPrompt="1"/>
          </p:nvPr>
        </p:nvSpPr>
        <p:spPr>
          <a:xfrm>
            <a:off x="1121134" y="5906872"/>
            <a:ext cx="8561650" cy="451115"/>
          </a:xfrm>
        </p:spPr>
        <p:txBody>
          <a:bodyPr vert="horz" lIns="0" tIns="45720" rIns="91440" bIns="45720" rtlCol="0" anchor="ctr" anchorCtr="0">
            <a:normAutofit/>
          </a:bodyPr>
          <a:lstStyle>
            <a:lvl1pPr>
              <a:defRPr lang="ja-JP" altLang="en-US" sz="1400" b="1" spc="300" dirty="0" smtClean="0">
                <a:solidFill>
                  <a:schemeClr val="tx1">
                    <a:lumMod val="90000"/>
                    <a:lumOff val="10000"/>
                  </a:schemeClr>
                </a:solidFill>
                <a:latin typeface="Yu Gothic" panose="020B0400000000000000" pitchFamily="34" charset="-128"/>
                <a:ea typeface="Yu Gothic" panose="020B0400000000000000" pitchFamily="34" charset="-128"/>
              </a:defRPr>
            </a:lvl1pPr>
          </a:lstStyle>
          <a:p>
            <a:pPr marL="0" lvl="0" indent="0" defTabSz="914354">
              <a:lnSpc>
                <a:spcPct val="100000"/>
              </a:lnSpc>
              <a:spcBef>
                <a:spcPts val="600"/>
              </a:spcBef>
              <a:buClr>
                <a:schemeClr val="tx2"/>
              </a:buClr>
              <a:buFont typeface="Wingdings" panose="05000000000000000000" pitchFamily="2" charset="2"/>
              <a:buNone/>
            </a:pPr>
            <a:r>
              <a:rPr kumimoji="1" lang="ja-JP" altLang="en-US"/>
              <a:t>日付</a:t>
            </a:r>
            <a:r>
              <a:rPr kumimoji="1" lang="en-US" altLang="ja-JP"/>
              <a:t>2021</a:t>
            </a:r>
            <a:r>
              <a:rPr kumimoji="1" lang="ja-JP" altLang="en-US"/>
              <a:t>年</a:t>
            </a:r>
            <a:r>
              <a:rPr kumimoji="1" lang="en-US" altLang="ja-JP"/>
              <a:t>1</a:t>
            </a:r>
            <a:r>
              <a:rPr kumimoji="1" lang="ja-JP" altLang="en-US"/>
              <a:t>月</a:t>
            </a:r>
            <a:r>
              <a:rPr kumimoji="1" lang="en-US" altLang="ja-JP"/>
              <a:t>2</a:t>
            </a:r>
            <a:r>
              <a:rPr kumimoji="1" lang="ja-JP" altLang="en-US"/>
              <a:t>日</a:t>
            </a:r>
          </a:p>
        </p:txBody>
      </p:sp>
      <p:pic>
        <p:nvPicPr>
          <p:cNvPr id="11" name="図 10" descr="図形&#10;&#10;中程度の精度で自動的に生成された説明">
            <a:extLst>
              <a:ext uri="{FF2B5EF4-FFF2-40B4-BE49-F238E27FC236}">
                <a16:creationId xmlns:a16="http://schemas.microsoft.com/office/drawing/2014/main" id="{76336CA7-6CED-A64A-B847-858B6A8BF93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12515" y="5906872"/>
            <a:ext cx="1766867" cy="451115"/>
          </a:xfrm>
          <a:prstGeom prst="rect">
            <a:avLst/>
          </a:prstGeom>
        </p:spPr>
      </p:pic>
    </p:spTree>
    <p:extLst>
      <p:ext uri="{BB962C8B-B14F-4D97-AF65-F5344CB8AC3E}">
        <p14:creationId xmlns:p14="http://schemas.microsoft.com/office/powerpoint/2010/main" val="2876843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白背景2">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42FF8924-1FF6-4ED8-8B0D-929111F5EDFE}"/>
              </a:ext>
            </a:extLst>
          </p:cNvPr>
          <p:cNvGraphicFramePr>
            <a:graphicFrameLocks noChangeAspect="1"/>
          </p:cNvGraphicFramePr>
          <p:nvPr userDrawn="1">
            <p:custDataLst>
              <p:tags r:id="rId2"/>
            </p:custDataLst>
            <p:extLst>
              <p:ext uri="{D42A27DB-BD31-4B8C-83A1-F6EECF244321}">
                <p14:modId xmlns:p14="http://schemas.microsoft.com/office/powerpoint/2010/main" val="3163697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06" imgH="306" progId="TCLayout.ActiveDocument.1">
                  <p:embed/>
                </p:oleObj>
              </mc:Choice>
              <mc:Fallback>
                <p:oleObj name="think-cell Slide" r:id="rId4" imgW="306" imgH="306" progId="TCLayout.ActiveDocument.1">
                  <p:embed/>
                  <p:pic>
                    <p:nvPicPr>
                      <p:cNvPr id="5" name="オブジェクト 4" hidden="1">
                        <a:extLst>
                          <a:ext uri="{FF2B5EF4-FFF2-40B4-BE49-F238E27FC236}">
                            <a16:creationId xmlns:a16="http://schemas.microsoft.com/office/drawing/2014/main" id="{42FF8924-1FF6-4ED8-8B0D-929111F5E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2322717F-7F1B-1E4D-A821-8286853B5571}"/>
              </a:ext>
            </a:extLst>
          </p:cNvPr>
          <p:cNvSpPr/>
          <p:nvPr userDrawn="1"/>
        </p:nvSpPr>
        <p:spPr>
          <a:xfrm flipV="1">
            <a:off x="0" y="-1"/>
            <a:ext cx="12192000" cy="572543"/>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221410" y="90344"/>
            <a:ext cx="10051909" cy="410119"/>
          </a:xfrm>
          <a:prstGeom prst="rect">
            <a:avLst/>
          </a:prstGeom>
        </p:spPr>
        <p:txBody>
          <a:bodyPr vert="horz" lIns="0" rIns="0">
            <a:noAutofit/>
          </a:bodyPr>
          <a:lstStyle>
            <a:lvl1pPr>
              <a:defRPr sz="1600" b="0" i="0">
                <a:solidFill>
                  <a:schemeClr val="tx1">
                    <a:lumMod val="60000"/>
                    <a:lumOff val="40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a:t>マスター タイトルの書式設定</a:t>
            </a:r>
          </a:p>
        </p:txBody>
      </p:sp>
      <p:sp>
        <p:nvSpPr>
          <p:cNvPr id="12" name="フッター プレースホルダー 1">
            <a:extLst>
              <a:ext uri="{FF2B5EF4-FFF2-40B4-BE49-F238E27FC236}">
                <a16:creationId xmlns:a16="http://schemas.microsoft.com/office/drawing/2014/main" id="{88A398D2-5895-DB4D-BBD7-2CBE922DC2A1}"/>
              </a:ext>
            </a:extLst>
          </p:cNvPr>
          <p:cNvSpPr txBox="1">
            <a:spLocks/>
          </p:cNvSpPr>
          <p:nvPr userDrawn="1"/>
        </p:nvSpPr>
        <p:spPr>
          <a:xfrm>
            <a:off x="382048" y="6450433"/>
            <a:ext cx="5399676" cy="252355"/>
          </a:xfrm>
          <a:prstGeom prst="rect">
            <a:avLst/>
          </a:prstGeom>
        </p:spPr>
        <p:txBody>
          <a:bodyPr lIns="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algn="l"/>
            <a:r>
              <a:rPr lang="en-US" altLang="ja" sz="1200" b="0">
                <a:solidFill>
                  <a:schemeClr val="bg1">
                    <a:lumMod val="50000"/>
                    <a:alpha val="50000"/>
                  </a:schemeClr>
                </a:solidFill>
                <a:latin typeface="Meiryo UI" panose="020B0604030504040204" pitchFamily="50" charset="-128"/>
                <a:ea typeface="Meiryo UI" panose="020B0604030504040204" pitchFamily="50" charset="-128"/>
                <a:sym typeface="Meiryo UI" panose="020B0604030504040204" pitchFamily="50" charset="-128"/>
              </a:rPr>
              <a:t>Copyright © by Quest Inc. All rights reserved.</a:t>
            </a:r>
            <a:endParaRPr lang="en-US" altLang="ja-JP" sz="1200" b="0">
              <a:solidFill>
                <a:schemeClr val="bg1">
                  <a:lumMod val="50000"/>
                  <a:alpha val="50000"/>
                </a:schemeClr>
              </a:solidFill>
              <a:latin typeface="Meiryo UI" panose="020B0604030504040204" pitchFamily="50" charset="-128"/>
              <a:ea typeface="Meiryo UI" panose="020B0604030504040204" pitchFamily="50" charset="-128"/>
              <a:sym typeface="Meiryo UI" panose="020B0604030504040204" pitchFamily="50" charset="-128"/>
            </a:endParaRPr>
          </a:p>
        </p:txBody>
      </p:sp>
      <p:pic>
        <p:nvPicPr>
          <p:cNvPr id="9" name="図 8" descr="図形&#10;&#10;中程度の精度で自動的に生成された説明">
            <a:extLst>
              <a:ext uri="{FF2B5EF4-FFF2-40B4-BE49-F238E27FC236}">
                <a16:creationId xmlns:a16="http://schemas.microsoft.com/office/drawing/2014/main" id="{63286FFC-7FCA-F441-AEA2-71494D0DB4A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24987" y="182345"/>
            <a:ext cx="964323" cy="246210"/>
          </a:xfrm>
          <a:prstGeom prst="rect">
            <a:avLst/>
          </a:prstGeom>
        </p:spPr>
      </p:pic>
      <p:sp>
        <p:nvSpPr>
          <p:cNvPr id="14" name="テキスト プレースホルダー 13">
            <a:extLst>
              <a:ext uri="{FF2B5EF4-FFF2-40B4-BE49-F238E27FC236}">
                <a16:creationId xmlns:a16="http://schemas.microsoft.com/office/drawing/2014/main" id="{C84835F5-A684-48A2-80DC-04B8A5529A82}"/>
              </a:ext>
            </a:extLst>
          </p:cNvPr>
          <p:cNvSpPr>
            <a:spLocks noGrp="1"/>
          </p:cNvSpPr>
          <p:nvPr>
            <p:ph type="body" sz="quarter" idx="13"/>
          </p:nvPr>
        </p:nvSpPr>
        <p:spPr>
          <a:xfrm>
            <a:off x="508563" y="751847"/>
            <a:ext cx="11159575" cy="419837"/>
          </a:xfrm>
          <a:noFill/>
          <a:ln>
            <a:noFill/>
          </a:ln>
        </p:spPr>
        <p:txBody>
          <a:bodyPr>
            <a:noAutofit/>
          </a:bodyPr>
          <a:lstStyle>
            <a:lvl1pPr marL="0" indent="0" algn="l" defTabSz="914400" rtl="0" eaLnBrk="1" latinLnBrk="0" hangingPunct="1">
              <a:lnSpc>
                <a:spcPct val="130000"/>
              </a:lnSpc>
              <a:spcBef>
                <a:spcPct val="0"/>
              </a:spcBef>
              <a:buNone/>
              <a:defRPr kumimoji="1" lang="ja-JP" altLang="en-US" sz="2000" b="1" kern="1200" dirty="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a:lvl2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2pPr>
            <a:lvl3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3pPr>
            <a:lvl4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4pPr>
            <a:lvl5pPr>
              <a:defRPr sz="1600" b="1">
                <a:solidFill>
                  <a:schemeClr val="tx1"/>
                </a:solidFill>
                <a:latin typeface="Meiryo UI" panose="020B0604030504040204" pitchFamily="50" charset="-128"/>
                <a:ea typeface="Meiryo UI" panose="020B0604030504040204" pitchFamily="50" charset="-128"/>
                <a:sym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ー 10">
            <a:extLst>
              <a:ext uri="{FF2B5EF4-FFF2-40B4-BE49-F238E27FC236}">
                <a16:creationId xmlns:a16="http://schemas.microsoft.com/office/drawing/2014/main" id="{8CAAAE02-C565-45F3-B442-E73B2DA119FF}"/>
              </a:ext>
            </a:extLst>
          </p:cNvPr>
          <p:cNvSpPr>
            <a:spLocks noGrp="1"/>
          </p:cNvSpPr>
          <p:nvPr>
            <p:ph type="sldNum" sz="quarter" idx="10"/>
          </p:nvPr>
        </p:nvSpPr>
        <p:spPr>
          <a:xfrm>
            <a:off x="10924987" y="6476599"/>
            <a:ext cx="1160083" cy="365125"/>
          </a:xfrm>
          <a:prstGeom prst="rect">
            <a:avLst/>
          </a:prstGeom>
        </p:spPr>
        <p:txBody>
          <a:bodyPr/>
          <a:lstStyle>
            <a:lvl1pPr>
              <a:defRPr>
                <a:solidFill>
                  <a:schemeClr val="bg2">
                    <a:lumMod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fld id="{E479777B-F5DF-4157-96ED-74BFD422C06E}" type="slidenum">
              <a:rPr lang="ja-JP" altLang="en-US" smtClean="0"/>
              <a:pPr/>
              <a:t>‹N›</a:t>
            </a:fld>
            <a:endParaRPr lang="ja-JP" altLang="en-US"/>
          </a:p>
        </p:txBody>
      </p:sp>
    </p:spTree>
    <p:extLst>
      <p:ext uri="{BB962C8B-B14F-4D97-AF65-F5344CB8AC3E}">
        <p14:creationId xmlns:p14="http://schemas.microsoft.com/office/powerpoint/2010/main" val="1067178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3B1D695-9329-43C5-B18C-1E5503CD49E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CBEB719-6601-4D91-94B1-93CF8A242EBF}"/>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5D23F0C-ABF6-4E31-ACAD-3CBC52045E6B}"/>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F1353ED7-5FB1-4940-BD86-0178AFD43C2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52901CF-06CC-4A3D-AFA3-FC893D9C9E4B}"/>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3877732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3BF830-C427-4335-97FA-FD8E4023AD90}"/>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E2DEC5B-579A-441D-968C-CC419850C6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F480E99-EDD1-417A-A79C-D66FE61E28E7}"/>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976C6606-685D-46BA-AC34-15DC3F7E93A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079F180-4043-4994-9E7C-E86DFDFD80AA}"/>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73057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39868CA-54FC-4E40-9AE0-82746164DDC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D2E04C2-28CE-46E6-8FDF-BDA2C611E1E6}"/>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4C378434-E800-490E-8150-61FD7D71F9C8}"/>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A8057C9E-3511-421E-8E06-C4DCD77508A3}"/>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6" name="フッター プレースホルダー 5">
            <a:extLst>
              <a:ext uri="{FF2B5EF4-FFF2-40B4-BE49-F238E27FC236}">
                <a16:creationId xmlns:a16="http://schemas.microsoft.com/office/drawing/2014/main" id="{FB78D200-A27E-4872-B57C-AAC329D5C5E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427FA89-3F0E-4383-B988-49E7B0DC5ED7}"/>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1557148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E97B39E-16E1-4FB4-9637-9BA2AC552D3A}"/>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33D3624-D124-4928-9F64-E46EF6EE81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98F0B42-D5FF-4CE1-AA81-EB8BC1B815E3}"/>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89037F8-B648-4E76-8F2F-E2C4A6E3E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E8266850-A3D1-495D-9296-14C15247B4F5}"/>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93677B3F-6A9F-4C78-85B3-DA923BF86FFD}"/>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8" name="フッター プレースホルダー 7">
            <a:extLst>
              <a:ext uri="{FF2B5EF4-FFF2-40B4-BE49-F238E27FC236}">
                <a16:creationId xmlns:a16="http://schemas.microsoft.com/office/drawing/2014/main" id="{3506BE1F-B5CD-4447-84AA-9483B2448939}"/>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8D1647CA-0F83-4BFD-A70B-FAA21E122A3F}"/>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2288929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728D8E0-2A2B-41EE-827D-7BD8F14AA86F}"/>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482607E6-6F9C-4C0C-8A1E-BBBFF534D421}"/>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4" name="フッター プレースホルダー 3">
            <a:extLst>
              <a:ext uri="{FF2B5EF4-FFF2-40B4-BE49-F238E27FC236}">
                <a16:creationId xmlns:a16="http://schemas.microsoft.com/office/drawing/2014/main" id="{E2E9806B-A09C-4F25-B0D5-196CD872D17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BDED8E61-869E-47E5-824E-2817E720CF57}"/>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1848940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3E549571-EC9B-484A-8094-9BED2A2BB603}"/>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3" name="フッター プレースホルダー 2">
            <a:extLst>
              <a:ext uri="{FF2B5EF4-FFF2-40B4-BE49-F238E27FC236}">
                <a16:creationId xmlns:a16="http://schemas.microsoft.com/office/drawing/2014/main" id="{AC8CA049-5CC3-413E-A1D4-4C30CABE94B8}"/>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6D9AA90-1086-4DD9-B85D-1F8EC1853F2B}"/>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733627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153D79-259E-4882-A16B-779DA40A76DC}"/>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B67CEA3-EF64-4DA6-B0EA-24C17E1818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3C2B49C3-CEE4-4356-99CE-9000F0F5D3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3B017F8-6079-46D3-8BE6-16615A6DCA68}"/>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6" name="フッター プレースホルダー 5">
            <a:extLst>
              <a:ext uri="{FF2B5EF4-FFF2-40B4-BE49-F238E27FC236}">
                <a16:creationId xmlns:a16="http://schemas.microsoft.com/office/drawing/2014/main" id="{B5D05A91-A434-485F-BAA6-13DC095645B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DE130AB-92E1-4397-AAEA-23E099FCB9BA}"/>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3493488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A6997D8-B507-4D63-84ED-AF54DFB7185B}"/>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20380FB-919D-4503-9705-45CB3F24AD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AD60546-BAB3-4766-89C3-CC914D4107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C227ED7-DBDB-429A-9887-FDA984C000E0}"/>
              </a:ext>
            </a:extLst>
          </p:cNvPr>
          <p:cNvSpPr>
            <a:spLocks noGrp="1"/>
          </p:cNvSpPr>
          <p:nvPr>
            <p:ph type="dt" sz="half" idx="10"/>
          </p:nvPr>
        </p:nvSpPr>
        <p:spPr/>
        <p:txBody>
          <a:bodyPr/>
          <a:lstStyle/>
          <a:p>
            <a:fld id="{399CF2BF-C493-4CF7-8D44-4894E6C146CD}" type="datetimeFigureOut">
              <a:rPr kumimoji="1" lang="ja-JP" altLang="en-US" smtClean="0"/>
              <a:t>2021/11/7</a:t>
            </a:fld>
            <a:endParaRPr kumimoji="1" lang="ja-JP" altLang="en-US"/>
          </a:p>
        </p:txBody>
      </p:sp>
      <p:sp>
        <p:nvSpPr>
          <p:cNvPr id="6" name="フッター プレースホルダー 5">
            <a:extLst>
              <a:ext uri="{FF2B5EF4-FFF2-40B4-BE49-F238E27FC236}">
                <a16:creationId xmlns:a16="http://schemas.microsoft.com/office/drawing/2014/main" id="{D5DFEE62-12C0-4A39-94D2-35F678577A6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DB5EE3F-8F5E-44C9-B4EE-85665016CDBF}"/>
              </a:ext>
            </a:extLst>
          </p:cNvPr>
          <p:cNvSpPr>
            <a:spLocks noGrp="1"/>
          </p:cNvSpPr>
          <p:nvPr>
            <p:ph type="sldNum" sz="quarter" idx="12"/>
          </p:nvPr>
        </p:nvSpPr>
        <p:spPr/>
        <p:txBody>
          <a:body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3609133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7829CF-B620-4724-83A8-2C77C4AFADDF}"/>
              </a:ext>
            </a:extLst>
          </p:cNvPr>
          <p:cNvGraphicFramePr>
            <a:graphicFrameLocks noChangeAspect="1"/>
          </p:cNvGraphicFramePr>
          <p:nvPr userDrawn="1">
            <p:custDataLst>
              <p:tags r:id="rId18"/>
            </p:custDataLst>
            <p:extLst>
              <p:ext uri="{D42A27DB-BD31-4B8C-83A1-F6EECF244321}">
                <p14:modId xmlns:p14="http://schemas.microsoft.com/office/powerpoint/2010/main" val="373260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395" imgH="394" progId="TCLayout.ActiveDocument.1">
                  <p:embed/>
                </p:oleObj>
              </mc:Choice>
              <mc:Fallback>
                <p:oleObj name="think-cell Slide" r:id="rId19" imgW="395" imgH="394" progId="TCLayout.ActiveDocument.1">
                  <p:embed/>
                  <p:pic>
                    <p:nvPicPr>
                      <p:cNvPr id="8" name="Object 7" hidden="1">
                        <a:extLst>
                          <a:ext uri="{FF2B5EF4-FFF2-40B4-BE49-F238E27FC236}">
                            <a16:creationId xmlns:a16="http://schemas.microsoft.com/office/drawing/2014/main" id="{D67829CF-B620-4724-83A8-2C77C4AFADD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CC81DD47-F26D-4503-AE53-DCDDC3E5EC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71F6B613-5524-4556-8DC5-F5E973F356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F84F461-789E-4F4F-BBCC-0209A44479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9CF2BF-C493-4CF7-8D44-4894E6C146CD}" type="datetimeFigureOut">
              <a:rPr kumimoji="1" lang="ja-JP" altLang="en-US" smtClean="0"/>
              <a:t>2021/11/7</a:t>
            </a:fld>
            <a:endParaRPr kumimoji="1" lang="ja-JP" altLang="en-US"/>
          </a:p>
        </p:txBody>
      </p:sp>
      <p:sp>
        <p:nvSpPr>
          <p:cNvPr id="5" name="フッター プレースホルダー 4">
            <a:extLst>
              <a:ext uri="{FF2B5EF4-FFF2-40B4-BE49-F238E27FC236}">
                <a16:creationId xmlns:a16="http://schemas.microsoft.com/office/drawing/2014/main" id="{B50A7ED5-4B6C-4C4B-ABA7-1180527EE3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C8460EB2-433E-4505-8047-46000F74BB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D853D6-C43B-404B-B0F1-E60608A0FD93}" type="slidenum">
              <a:rPr kumimoji="1" lang="ja-JP" altLang="en-US" smtClean="0"/>
              <a:t>‹N›</a:t>
            </a:fld>
            <a:endParaRPr kumimoji="1" lang="ja-JP" altLang="en-US"/>
          </a:p>
        </p:txBody>
      </p:sp>
    </p:spTree>
    <p:extLst>
      <p:ext uri="{BB962C8B-B14F-4D97-AF65-F5344CB8AC3E}">
        <p14:creationId xmlns:p14="http://schemas.microsoft.com/office/powerpoint/2010/main" val="24253432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2.sv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image" Target="../media/image2.emf"/><Relationship Id="rId5" Type="http://schemas.openxmlformats.org/officeDocument/2006/relationships/tags" Target="../tags/tag12.xml"/><Relationship Id="rId10" Type="http://schemas.openxmlformats.org/officeDocument/2006/relationships/oleObject" Target="../embeddings/oleObject8.bin"/><Relationship Id="rId4" Type="http://schemas.openxmlformats.org/officeDocument/2006/relationships/tags" Target="../tags/tag11.xml"/><Relationship Id="rId9" Type="http://schemas.openxmlformats.org/officeDocument/2006/relationships/slideLayout" Target="../slideLayouts/slideLayout12.xml"/><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5.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2.xml"/><Relationship Id="rId9"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15.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3.xml"/><Relationship Id="rId9"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5.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xml"/><Relationship Id="rId7" Type="http://schemas.openxmlformats.org/officeDocument/2006/relationships/image" Target="../media/image18.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4B192654-860C-4BAC-A7C9-47FBBD996C14}"/>
              </a:ext>
            </a:extLst>
          </p:cNvPr>
          <p:cNvSpPr>
            <a:spLocks noGrp="1"/>
          </p:cNvSpPr>
          <p:nvPr>
            <p:ph type="body" sz="quarter" idx="12"/>
          </p:nvPr>
        </p:nvSpPr>
        <p:spPr>
          <a:xfrm>
            <a:off x="1121134" y="3128283"/>
            <a:ext cx="8561650" cy="1980029"/>
          </a:xfrm>
        </p:spPr>
        <p:txBody>
          <a:bodyPr/>
          <a:lstStyle/>
          <a:p>
            <a:pPr marL="0" indent="0">
              <a:buNone/>
            </a:pPr>
            <a:r>
              <a:rPr lang="en-US" altLang="ja-JP">
                <a:latin typeface="Meiryo UI"/>
                <a:ea typeface="Meiryo UI"/>
              </a:rPr>
              <a:t>Team 11</a:t>
            </a:r>
          </a:p>
          <a:p>
            <a:pPr marL="0" indent="0">
              <a:buNone/>
            </a:pPr>
            <a:r>
              <a:rPr lang="en-US" altLang="ja-JP" sz="1400">
                <a:latin typeface="Meiryo UI"/>
                <a:ea typeface="Meiryo UI"/>
              </a:rPr>
              <a:t>Diego Polar</a:t>
            </a:r>
          </a:p>
          <a:p>
            <a:pPr marL="0" indent="0">
              <a:buNone/>
            </a:pPr>
            <a:r>
              <a:rPr lang="en-US" altLang="ja-JP" sz="1400">
                <a:latin typeface="Meiryo UI"/>
                <a:ea typeface="Meiryo UI"/>
              </a:rPr>
              <a:t>Veera Thota</a:t>
            </a:r>
            <a:endParaRPr lang="en-US" altLang="ja-JP" sz="1400">
              <a:latin typeface="Meiryo UI" panose="020B0604030504040204" pitchFamily="50" charset="-128"/>
              <a:ea typeface="Meiryo UI" panose="020B0604030504040204" pitchFamily="50" charset="-128"/>
            </a:endParaRPr>
          </a:p>
          <a:p>
            <a:pPr marL="0" indent="0">
              <a:buNone/>
            </a:pPr>
            <a:r>
              <a:rPr lang="en-US" altLang="ja-JP" sz="1400">
                <a:latin typeface="Meiryo UI"/>
                <a:ea typeface="Meiryo UI"/>
              </a:rPr>
              <a:t>Timothy Naman</a:t>
            </a:r>
          </a:p>
          <a:p>
            <a:pPr marL="0" indent="0">
              <a:buNone/>
            </a:pPr>
            <a:r>
              <a:rPr lang="en-US" altLang="ja-JP" sz="1400">
                <a:latin typeface="Meiryo UI"/>
                <a:ea typeface="Meiryo UI"/>
              </a:rPr>
              <a:t>Tri Dung Dinh</a:t>
            </a:r>
          </a:p>
          <a:p>
            <a:pPr marL="0" indent="0">
              <a:buNone/>
            </a:pPr>
            <a:r>
              <a:rPr kumimoji="1" lang="en-US" altLang="ja-JP" sz="1400">
                <a:latin typeface="Meiryo UI"/>
                <a:ea typeface="Meiryo UI"/>
              </a:rPr>
              <a:t>Takahito Komori</a:t>
            </a:r>
            <a:endParaRPr lang="en-US" altLang="ja-JP" sz="1400">
              <a:latin typeface="Meiryo UI"/>
              <a:ea typeface="Meiryo UI"/>
            </a:endParaRPr>
          </a:p>
        </p:txBody>
      </p:sp>
      <p:sp>
        <p:nvSpPr>
          <p:cNvPr id="5" name="テキスト プレースホルダー 4">
            <a:extLst>
              <a:ext uri="{FF2B5EF4-FFF2-40B4-BE49-F238E27FC236}">
                <a16:creationId xmlns:a16="http://schemas.microsoft.com/office/drawing/2014/main" id="{7F96188F-84A3-4A13-A927-4C08ECB1C691}"/>
              </a:ext>
            </a:extLst>
          </p:cNvPr>
          <p:cNvSpPr>
            <a:spLocks noGrp="1"/>
          </p:cNvSpPr>
          <p:nvPr>
            <p:ph type="body" sz="quarter" idx="13"/>
          </p:nvPr>
        </p:nvSpPr>
        <p:spPr>
          <a:xfrm>
            <a:off x="1121134" y="2326290"/>
            <a:ext cx="8561650" cy="594906"/>
          </a:xfrm>
        </p:spPr>
        <p:txBody>
          <a:bodyPr>
            <a:normAutofit lnSpcReduction="10000"/>
          </a:bodyPr>
          <a:lstStyle/>
          <a:p>
            <a:r>
              <a:rPr lang="en-US" altLang="ja-JP">
                <a:latin typeface="Meiryo UI" panose="020B0604030504040204" pitchFamily="50" charset="-128"/>
                <a:ea typeface="Meiryo UI" panose="020B0604030504040204" pitchFamily="50" charset="-128"/>
              </a:rPr>
              <a:t>Marketing Strategy For Air France</a:t>
            </a:r>
          </a:p>
        </p:txBody>
      </p:sp>
      <p:sp>
        <p:nvSpPr>
          <p:cNvPr id="3" name="テキスト プレースホルダー 2">
            <a:extLst>
              <a:ext uri="{FF2B5EF4-FFF2-40B4-BE49-F238E27FC236}">
                <a16:creationId xmlns:a16="http://schemas.microsoft.com/office/drawing/2014/main" id="{CE74A6F0-6B45-4B09-B638-5C7D343256FB}"/>
              </a:ext>
            </a:extLst>
          </p:cNvPr>
          <p:cNvSpPr>
            <a:spLocks noGrp="1"/>
          </p:cNvSpPr>
          <p:nvPr>
            <p:ph type="body" sz="quarter" idx="11"/>
          </p:nvPr>
        </p:nvSpPr>
        <p:spPr/>
        <p:txBody>
          <a:bodyPr/>
          <a:lstStyle/>
          <a:p>
            <a:pPr marL="0" indent="0">
              <a:buNone/>
            </a:pPr>
            <a:r>
              <a:rPr lang="en-US">
                <a:latin typeface="Meiryo UI" panose="020B0604030504040204" pitchFamily="50" charset="-128"/>
                <a:ea typeface="Meiryo UI" panose="020B0604030504040204" pitchFamily="50" charset="-128"/>
              </a:rPr>
              <a:t>November</a:t>
            </a:r>
            <a:r>
              <a:rPr kumimoji="1" lang="en-US">
                <a:latin typeface="Meiryo UI" panose="020B0604030504040204" pitchFamily="50" charset="-128"/>
                <a:ea typeface="Meiryo UI" panose="020B0604030504040204" pitchFamily="50" charset="-128"/>
              </a:rPr>
              <a:t> 7, 2021</a:t>
            </a:r>
          </a:p>
        </p:txBody>
      </p:sp>
      <p:pic>
        <p:nvPicPr>
          <p:cNvPr id="2" name="Picture 1">
            <a:extLst>
              <a:ext uri="{FF2B5EF4-FFF2-40B4-BE49-F238E27FC236}">
                <a16:creationId xmlns:a16="http://schemas.microsoft.com/office/drawing/2014/main" id="{F484C9A9-6C5B-4295-A2E2-3663960187F1}"/>
              </a:ext>
            </a:extLst>
          </p:cNvPr>
          <p:cNvPicPr>
            <a:picLocks noChangeAspect="1"/>
          </p:cNvPicPr>
          <p:nvPr/>
        </p:nvPicPr>
        <p:blipFill>
          <a:blip r:embed="rId2"/>
          <a:stretch>
            <a:fillRect/>
          </a:stretch>
        </p:blipFill>
        <p:spPr>
          <a:xfrm>
            <a:off x="9526263" y="5358523"/>
            <a:ext cx="2665737" cy="1499477"/>
          </a:xfrm>
          <a:prstGeom prst="rect">
            <a:avLst/>
          </a:prstGeom>
        </p:spPr>
      </p:pic>
    </p:spTree>
    <p:extLst>
      <p:ext uri="{BB962C8B-B14F-4D97-AF65-F5344CB8AC3E}">
        <p14:creationId xmlns:p14="http://schemas.microsoft.com/office/powerpoint/2010/main" val="720737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5924795-F728-4C89-B8B9-441125EB0C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230" imgH="229" progId="TCLayout.ActiveDocument.1">
                  <p:embed/>
                </p:oleObj>
              </mc:Choice>
              <mc:Fallback>
                <p:oleObj name="think-cell Slide" r:id="rId5" imgW="230" imgH="229" progId="TCLayout.ActiveDocument.1">
                  <p:embed/>
                  <p:pic>
                    <p:nvPicPr>
                      <p:cNvPr id="2" name="オブジェクト 1" hidden="1">
                        <a:extLst>
                          <a:ext uri="{FF2B5EF4-FFF2-40B4-BE49-F238E27FC236}">
                            <a16:creationId xmlns:a16="http://schemas.microsoft.com/office/drawing/2014/main" id="{85924795-F728-4C89-B8B9-441125EB0C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コンテンツ プレースホルダー 4">
            <a:extLst>
              <a:ext uri="{FF2B5EF4-FFF2-40B4-BE49-F238E27FC236}">
                <a16:creationId xmlns:a16="http://schemas.microsoft.com/office/drawing/2014/main" id="{8C5620B7-4364-064A-9629-71F680B133B6}"/>
              </a:ext>
            </a:extLst>
          </p:cNvPr>
          <p:cNvSpPr txBox="1">
            <a:spLocks/>
          </p:cNvSpPr>
          <p:nvPr/>
        </p:nvSpPr>
        <p:spPr>
          <a:xfrm>
            <a:off x="1305559" y="1696826"/>
            <a:ext cx="5009515" cy="40943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57200" indent="-457200">
              <a:lnSpc>
                <a:spcPct val="200000"/>
              </a:lnSpc>
              <a:spcBef>
                <a:spcPts val="0"/>
              </a:spcBef>
              <a:buClr>
                <a:schemeClr val="accent1"/>
              </a:buClr>
              <a:buFont typeface="+mj-lt"/>
              <a:buAutoNum type="arabicPeriod"/>
            </a:pP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Backgrounds</a:t>
            </a:r>
            <a:r>
              <a:rPr lang="ja-JP" altLang="en-US"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 </a:t>
            </a: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amp; Objectives</a:t>
            </a:r>
          </a:p>
          <a:p>
            <a:pPr marL="457200" indent="-457200">
              <a:lnSpc>
                <a:spcPct val="200000"/>
              </a:lnSpc>
              <a:spcBef>
                <a:spcPts val="0"/>
              </a:spcBef>
              <a:buClr>
                <a:schemeClr val="accent1"/>
              </a:buClr>
              <a:buFont typeface="+mj-lt"/>
              <a:buAutoNum type="arabicPeriod"/>
            </a:pP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Publisher Insights</a:t>
            </a:r>
          </a:p>
          <a:p>
            <a:pPr marL="457200" indent="-457200">
              <a:lnSpc>
                <a:spcPct val="200000"/>
              </a:lnSpc>
              <a:spcBef>
                <a:spcPts val="0"/>
              </a:spcBef>
              <a:buClr>
                <a:schemeClr val="accent1"/>
              </a:buClr>
              <a:buFont typeface="+mj-lt"/>
              <a:buAutoNum type="arabicPeriod"/>
            </a:pP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Campaign Insights</a:t>
            </a:r>
          </a:p>
          <a:p>
            <a:pPr marL="457200" indent="-457200">
              <a:lnSpc>
                <a:spcPct val="200000"/>
              </a:lnSpc>
              <a:spcBef>
                <a:spcPts val="0"/>
              </a:spcBef>
              <a:buClr>
                <a:schemeClr val="accent1"/>
              </a:buClr>
              <a:buFont typeface="+mj-lt"/>
              <a:buAutoNum type="arabicPeriod"/>
            </a:pP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Bid Strategy Insights</a:t>
            </a:r>
          </a:p>
          <a:p>
            <a:pPr marL="457200" indent="-457200">
              <a:lnSpc>
                <a:spcPct val="200000"/>
              </a:lnSpc>
              <a:spcBef>
                <a:spcPts val="0"/>
              </a:spcBef>
              <a:buClr>
                <a:schemeClr val="accent1"/>
              </a:buClr>
              <a:buFont typeface="+mj-lt"/>
              <a:buAutoNum type="arabicPeriod"/>
            </a:pPr>
            <a:r>
              <a:rPr lang="en-US" altLang="ja-JP" sz="2000" b="1">
                <a:solidFill>
                  <a:schemeClr val="accent1"/>
                </a:solidFill>
                <a:latin typeface="Meiryo UI" panose="020B0604030504040204" pitchFamily="50" charset="-128"/>
                <a:ea typeface="Meiryo UI" panose="020B0604030504040204" pitchFamily="50" charset="-128"/>
                <a:sym typeface="Meiryo UI" panose="020B0604030504040204" pitchFamily="50" charset="-128"/>
              </a:rPr>
              <a:t>Recommendation</a:t>
            </a:r>
          </a:p>
        </p:txBody>
      </p:sp>
      <p:sp>
        <p:nvSpPr>
          <p:cNvPr id="6" name="スライド番号プレースホルダー 4">
            <a:extLst>
              <a:ext uri="{FF2B5EF4-FFF2-40B4-BE49-F238E27FC236}">
                <a16:creationId xmlns:a16="http://schemas.microsoft.com/office/drawing/2014/main" id="{EC6AC244-633A-49F0-9805-03DC5C30AE02}"/>
              </a:ext>
            </a:extLst>
          </p:cNvPr>
          <p:cNvSpPr>
            <a:spLocks noGrp="1"/>
          </p:cNvSpPr>
          <p:nvPr>
            <p:ph type="sldNum" sz="quarter" idx="10"/>
          </p:nvPr>
        </p:nvSpPr>
        <p:spPr/>
        <p:txBody>
          <a:bodyPr/>
          <a:lstStyle/>
          <a:p>
            <a:fld id="{E479777B-F5DF-4157-96ED-74BFD422C06E}" type="slidenum">
              <a:rPr lang="ja-JP" altLang="en-US" smtClean="0">
                <a:latin typeface="Meiryo UI" panose="020B0604030504040204" pitchFamily="50" charset="-128"/>
                <a:ea typeface="Meiryo UI" panose="020B0604030504040204" pitchFamily="50" charset="-128"/>
                <a:sym typeface="Meiryo UI" panose="020B0604030504040204" pitchFamily="50" charset="-128"/>
              </a:rPr>
              <a:pPr/>
              <a:t>2</a:t>
            </a:fld>
            <a:endParaRPr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テキスト ボックス 7">
            <a:extLst>
              <a:ext uri="{FF2B5EF4-FFF2-40B4-BE49-F238E27FC236}">
                <a16:creationId xmlns:a16="http://schemas.microsoft.com/office/drawing/2014/main" id="{C16C575A-4CDA-47F5-9288-19BB911B5016}"/>
              </a:ext>
            </a:extLst>
          </p:cNvPr>
          <p:cNvSpPr txBox="1"/>
          <p:nvPr/>
        </p:nvSpPr>
        <p:spPr>
          <a:xfrm>
            <a:off x="11253833" y="560608"/>
            <a:ext cx="938167" cy="251776"/>
          </a:xfrm>
          <a:prstGeom prst="rect">
            <a:avLst/>
          </a:prstGeom>
          <a:solidFill>
            <a:srgbClr val="FFCC00"/>
          </a:solidFill>
        </p:spPr>
        <p:txBody>
          <a:bodyPr wrap="square" rtlCol="0">
            <a:noAutofit/>
          </a:bodyPr>
          <a:lstStyle/>
          <a:p>
            <a:pPr algn="ctr"/>
            <a:r>
              <a:rPr lang="ja-JP" altLang="en-US" sz="1100">
                <a:solidFill>
                  <a:schemeClr val="accent1"/>
                </a:solidFill>
              </a:rPr>
              <a:t>更新中</a:t>
            </a:r>
            <a:endParaRPr kumimoji="1" lang="en-US" sz="1100">
              <a:solidFill>
                <a:schemeClr val="accent1"/>
              </a:solidFill>
            </a:endParaRPr>
          </a:p>
        </p:txBody>
      </p:sp>
      <p:pic>
        <p:nvPicPr>
          <p:cNvPr id="9" name="Picture 8">
            <a:extLst>
              <a:ext uri="{FF2B5EF4-FFF2-40B4-BE49-F238E27FC236}">
                <a16:creationId xmlns:a16="http://schemas.microsoft.com/office/drawing/2014/main" id="{63FD8D2C-8014-4B57-8DCB-DA1F3B70E9E1}"/>
              </a:ext>
            </a:extLst>
          </p:cNvPr>
          <p:cNvPicPr>
            <a:picLocks noChangeAspect="1"/>
          </p:cNvPicPr>
          <p:nvPr/>
        </p:nvPicPr>
        <p:blipFill>
          <a:blip r:embed="rId7"/>
          <a:stretch>
            <a:fillRect/>
          </a:stretch>
        </p:blipFill>
        <p:spPr>
          <a:xfrm>
            <a:off x="10488288" y="16276"/>
            <a:ext cx="1703712" cy="958338"/>
          </a:xfrm>
          <a:prstGeom prst="rect">
            <a:avLst/>
          </a:prstGeom>
        </p:spPr>
      </p:pic>
    </p:spTree>
    <p:extLst>
      <p:ext uri="{BB962C8B-B14F-4D97-AF65-F5344CB8AC3E}">
        <p14:creationId xmlns:p14="http://schemas.microsoft.com/office/powerpoint/2010/main" val="1734690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557AA00-E94A-40DF-9F5F-D947486936B6}"/>
              </a:ext>
            </a:extLst>
          </p:cNvPr>
          <p:cNvGraphicFramePr>
            <a:graphicFrameLocks noChangeAspect="1"/>
          </p:cNvGraphicFramePr>
          <p:nvPr>
            <p:custDataLst>
              <p:tags r:id="rId2"/>
            </p:custDataLst>
            <p:extLst>
              <p:ext uri="{D42A27DB-BD31-4B8C-83A1-F6EECF244321}">
                <p14:modId xmlns:p14="http://schemas.microsoft.com/office/powerpoint/2010/main" val="516954469"/>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0" imgW="306" imgH="306" progId="TCLayout.ActiveDocument.1">
                  <p:embed/>
                </p:oleObj>
              </mc:Choice>
              <mc:Fallback>
                <p:oleObj name="think-cell Slide" r:id="rId10" imgW="306" imgH="306" progId="TCLayout.ActiveDocument.1">
                  <p:embed/>
                  <p:pic>
                    <p:nvPicPr>
                      <p:cNvPr id="7" name="オブジェクト 6" hidden="1">
                        <a:extLst>
                          <a:ext uri="{FF2B5EF4-FFF2-40B4-BE49-F238E27FC236}">
                            <a16:creationId xmlns:a16="http://schemas.microsoft.com/office/drawing/2014/main" id="{D557AA00-E94A-40DF-9F5F-D947486936B6}"/>
                          </a:ext>
                        </a:extLst>
                      </p:cNvPr>
                      <p:cNvPicPr/>
                      <p:nvPr/>
                    </p:nvPicPr>
                    <p:blipFill>
                      <a:blip r:embed="rId11"/>
                      <a:stretch>
                        <a:fillRect/>
                      </a:stretch>
                    </p:blipFill>
                    <p:spPr>
                      <a:xfrm>
                        <a:off x="3176"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41DB6013-4790-4AA5-80A0-A30613EF8D09}"/>
              </a:ext>
            </a:extLst>
          </p:cNvPr>
          <p:cNvSpPr/>
          <p:nvPr>
            <p:custDataLst>
              <p:tags r:id="rId3"/>
            </p:custDataLst>
          </p:nvPr>
        </p:nvSpPr>
        <p:spPr>
          <a:xfrm>
            <a:off x="1588" y="0"/>
            <a:ext cx="158750" cy="158750"/>
          </a:xfrm>
          <a:prstGeom prst="rect">
            <a:avLst/>
          </a:prstGeom>
          <a:solidFill>
            <a:schemeClr val="bg2">
              <a:lumMod val="75000"/>
            </a:schemeClr>
          </a:solidFill>
          <a:ln>
            <a:no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altLang="ja-JP" sz="2000" b="1">
              <a:solidFill>
                <a:schemeClr val="bg1"/>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sp>
        <p:nvSpPr>
          <p:cNvPr id="3" name="タイトル 2">
            <a:extLst>
              <a:ext uri="{FF2B5EF4-FFF2-40B4-BE49-F238E27FC236}">
                <a16:creationId xmlns:a16="http://schemas.microsoft.com/office/drawing/2014/main" id="{9F09518B-041E-4096-8711-DB9BBC2C4069}"/>
              </a:ext>
            </a:extLst>
          </p:cNvPr>
          <p:cNvSpPr>
            <a:spLocks noGrp="1"/>
          </p:cNvSpPr>
          <p:nvPr>
            <p:ph type="title"/>
          </p:nvPr>
        </p:nvSpPr>
        <p:spPr/>
        <p:txBody>
          <a:bodyPr vert="horz"/>
          <a:lstStyle/>
          <a:p>
            <a:r>
              <a:rPr lang="en-US"/>
              <a:t>1: Backgrounds &amp; Objectives</a:t>
            </a:r>
            <a:endParaRPr kumimoji="1" lang="de-DE">
              <a:latin typeface="Meiryo UI" panose="020B0604030504040204" pitchFamily="50" charset="-128"/>
              <a:ea typeface="Meiryo UI" panose="020B0604030504040204" pitchFamily="50" charset="-128"/>
            </a:endParaRPr>
          </a:p>
        </p:txBody>
      </p:sp>
      <p:sp>
        <p:nvSpPr>
          <p:cNvPr id="6" name="テキスト プレースホルダー 5">
            <a:extLst>
              <a:ext uri="{FF2B5EF4-FFF2-40B4-BE49-F238E27FC236}">
                <a16:creationId xmlns:a16="http://schemas.microsoft.com/office/drawing/2014/main" id="{B902894B-C86F-4D72-83FF-B937B16B1702}"/>
              </a:ext>
            </a:extLst>
          </p:cNvPr>
          <p:cNvSpPr>
            <a:spLocks noGrp="1"/>
          </p:cNvSpPr>
          <p:nvPr>
            <p:ph type="body" sz="quarter" idx="13"/>
          </p:nvPr>
        </p:nvSpPr>
        <p:spPr>
          <a:xfrm>
            <a:off x="244808" y="751847"/>
            <a:ext cx="11700000" cy="419837"/>
          </a:xfrm>
        </p:spPr>
        <p:txBody>
          <a:bodyPr/>
          <a:lstStyle/>
          <a:p>
            <a:r>
              <a:rPr lang="en-US" altLang="ja-JP" sz="1800"/>
              <a:t>Challenges are using EC efficiently and generate profits in the competitive travel market</a:t>
            </a:r>
            <a:endParaRPr lang="en-US" sz="1800"/>
          </a:p>
        </p:txBody>
      </p:sp>
      <p:sp>
        <p:nvSpPr>
          <p:cNvPr id="27" name="スライド番号プレースホルダー 4">
            <a:extLst>
              <a:ext uri="{FF2B5EF4-FFF2-40B4-BE49-F238E27FC236}">
                <a16:creationId xmlns:a16="http://schemas.microsoft.com/office/drawing/2014/main" id="{12029EB1-5591-424A-A5EA-14ADAC86387C}"/>
              </a:ext>
            </a:extLst>
          </p:cNvPr>
          <p:cNvSpPr>
            <a:spLocks noGrp="1"/>
          </p:cNvSpPr>
          <p:nvPr>
            <p:ph type="sldNum" sz="quarter" idx="10"/>
          </p:nvPr>
        </p:nvSpPr>
        <p:spPr/>
        <p:txBody>
          <a:bodyPr/>
          <a:lstStyle/>
          <a:p>
            <a:fld id="{E479777B-F5DF-4157-96ED-74BFD422C06E}" type="slidenum">
              <a:rPr lang="ja-JP" altLang="en-US" smtClean="0">
                <a:latin typeface="Meiryo UI" panose="020B0604030504040204" pitchFamily="50" charset="-128"/>
                <a:ea typeface="Meiryo UI" panose="020B0604030504040204" pitchFamily="50" charset="-128"/>
              </a:rPr>
              <a:pPr/>
              <a:t>3</a:t>
            </a:fld>
            <a:endParaRPr lang="ja-JP" altLang="en-US">
              <a:latin typeface="Meiryo UI" panose="020B0604030504040204" pitchFamily="50" charset="-128"/>
              <a:ea typeface="Meiryo UI" panose="020B0604030504040204" pitchFamily="50" charset="-128"/>
            </a:endParaRPr>
          </a:p>
        </p:txBody>
      </p:sp>
      <p:sp>
        <p:nvSpPr>
          <p:cNvPr id="18" name="Rectangle 3">
            <a:extLst>
              <a:ext uri="{FF2B5EF4-FFF2-40B4-BE49-F238E27FC236}">
                <a16:creationId xmlns:a16="http://schemas.microsoft.com/office/drawing/2014/main" id="{E22DECD1-2412-41D5-9D7E-3B0756A966F4}"/>
              </a:ext>
            </a:extLst>
          </p:cNvPr>
          <p:cNvSpPr txBox="1">
            <a:spLocks noChangeArrowheads="1"/>
          </p:cNvSpPr>
          <p:nvPr>
            <p:custDataLst>
              <p:tags r:id="rId4"/>
            </p:custDataLst>
          </p:nvPr>
        </p:nvSpPr>
        <p:spPr bwMode="auto">
          <a:xfrm>
            <a:off x="7631084" y="2071456"/>
            <a:ext cx="3978660" cy="3367109"/>
          </a:xfrm>
          <a:prstGeom prst="rect">
            <a:avLst/>
          </a:prstGeom>
          <a:noFill/>
          <a:ln w="9525">
            <a:noFill/>
            <a:miter lim="800000"/>
            <a:headEnd/>
            <a:tailEnd/>
          </a:ln>
          <a:effectLst/>
        </p:spPr>
        <p:txBody>
          <a:bodyPr vert="horz" wrap="square" lIns="72000" tIns="72000" rIns="72000" bIns="72000" numCol="1" anchor="t" anchorCtr="0" compatLnSpc="1">
            <a:prstTxWarp prst="textNoShape">
              <a:avLst/>
            </a:prstTxWarp>
          </a:bodyPr>
          <a:lstStyle>
            <a:defPPr>
              <a:defRPr lang="ja-JP"/>
            </a:defPPr>
            <a:lvl1pPr fontAlgn="base">
              <a:spcBef>
                <a:spcPct val="30000"/>
              </a:spcBef>
              <a:spcAft>
                <a:spcPct val="20000"/>
              </a:spcAft>
              <a:buClr>
                <a:schemeClr val="accent2"/>
              </a:buClr>
              <a:buFont typeface="Wingdings" pitchFamily="2" charset="2"/>
              <a:tabLst>
                <a:tab pos="266700" algn="l"/>
                <a:tab pos="631825" algn="l"/>
                <a:tab pos="981075" algn="l"/>
              </a:tabLst>
              <a:defRPr sz="1600" b="1"/>
            </a:lvl1pPr>
            <a:lvl2pPr marL="0" lvl="1" indent="0" fontAlgn="base">
              <a:spcBef>
                <a:spcPct val="0"/>
              </a:spcBef>
              <a:spcAft>
                <a:spcPts val="600"/>
              </a:spcAft>
              <a:buClr>
                <a:schemeClr val="tx1">
                  <a:lumMod val="65000"/>
                  <a:lumOff val="35000"/>
                </a:schemeClr>
              </a:buClr>
              <a:buSzPct val="80000"/>
              <a:buFont typeface="Wingdings" pitchFamily="2" charset="2"/>
              <a:buNone/>
              <a:tabLst>
                <a:tab pos="266700" algn="l"/>
                <a:tab pos="631825" algn="l"/>
                <a:tab pos="981075" algn="l"/>
              </a:tabLst>
              <a:defRPr sz="1400" b="1">
                <a:solidFill>
                  <a:schemeClr val="tx1">
                    <a:lumMod val="75000"/>
                    <a:lumOff val="25000"/>
                  </a:schemeClr>
                </a:solidFill>
                <a:latin typeface="Meiryo UI" panose="020B0604030504040204" pitchFamily="50" charset="-128"/>
                <a:ea typeface="Meiryo UI" panose="020B0604030504040204" pitchFamily="50" charset="-128"/>
              </a:defRPr>
            </a:lvl2pPr>
            <a:lvl3pPr marL="406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3pPr>
            <a:lvl4pPr marL="609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4pPr>
            <a:lvl5pPr marL="8128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sz="1600"/>
            </a:lvl9pPr>
          </a:lstStyle>
          <a:p>
            <a:pPr lvl="1">
              <a:lnSpc>
                <a:spcPct val="110000"/>
              </a:lnSpc>
              <a:spcAft>
                <a:spcPts val="0"/>
              </a:spcAft>
              <a:buClr>
                <a:prstClr val="black">
                  <a:lumMod val="65000"/>
                  <a:lumOff val="35000"/>
                </a:prstClr>
              </a:buClr>
            </a:pPr>
            <a:r>
              <a:rPr lang="en-US" altLang="ja-JP" b="0">
                <a:solidFill>
                  <a:srgbClr val="4D4D4D"/>
                </a:solidFill>
                <a:latin typeface="Meiryo UI"/>
                <a:ea typeface="Meiryo UI"/>
              </a:rPr>
              <a:t>Increase market share and profitability in US</a:t>
            </a:r>
            <a:endParaRPr lang="en-US" altLang="ja-JP" sz="1050" b="0">
              <a:solidFill>
                <a:srgbClr val="808080"/>
              </a:solidFill>
              <a:latin typeface="Meiryo UI"/>
              <a:ea typeface="Meiryo UI"/>
            </a:endParaRP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b="0">
                <a:solidFill>
                  <a:srgbClr val="808080"/>
                </a:solidFill>
                <a:latin typeface="Meiryo UI"/>
                <a:ea typeface="Meiryo UI"/>
              </a:rPr>
              <a:t>Improve customer bookings</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b="0">
                <a:solidFill>
                  <a:srgbClr val="808080"/>
                </a:solidFill>
                <a:latin typeface="Meiryo UI"/>
                <a:ea typeface="Meiryo UI"/>
              </a:rPr>
              <a:t>Increase  revenue</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b="0">
                <a:solidFill>
                  <a:srgbClr val="808080"/>
                </a:solidFill>
                <a:latin typeface="Meiryo UI"/>
                <a:ea typeface="Meiryo UI"/>
              </a:rPr>
              <a:t>Targeting the campaigns with Maximum profit margin.</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b="0">
                <a:solidFill>
                  <a:srgbClr val="808080"/>
                </a:solidFill>
                <a:latin typeface="Meiryo UI"/>
                <a:ea typeface="Meiryo UI"/>
              </a:rPr>
              <a:t>Increase the conversion rate from the E-commerce bookings</a:t>
            </a:r>
          </a:p>
          <a:p>
            <a:pPr marL="88900" lvl="1">
              <a:lnSpc>
                <a:spcPct val="110000"/>
              </a:lnSpc>
              <a:spcBef>
                <a:spcPts val="0"/>
              </a:spcBef>
              <a:spcAft>
                <a:spcPct val="30000"/>
              </a:spcAft>
            </a:pPr>
            <a:endParaRPr lang="ja-JP" altLang="en-US" sz="1000" b="0">
              <a:solidFill>
                <a:srgbClr val="808080"/>
              </a:solidFill>
            </a:endParaRPr>
          </a:p>
        </p:txBody>
      </p:sp>
      <p:sp>
        <p:nvSpPr>
          <p:cNvPr id="8" name="Rectangle 3">
            <a:extLst>
              <a:ext uri="{FF2B5EF4-FFF2-40B4-BE49-F238E27FC236}">
                <a16:creationId xmlns:a16="http://schemas.microsoft.com/office/drawing/2014/main" id="{B42FDBE4-9F23-4D9C-B071-5F00C1644D8C}"/>
              </a:ext>
            </a:extLst>
          </p:cNvPr>
          <p:cNvSpPr txBox="1">
            <a:spLocks noChangeArrowheads="1"/>
          </p:cNvSpPr>
          <p:nvPr>
            <p:custDataLst>
              <p:tags r:id="rId5"/>
            </p:custDataLst>
          </p:nvPr>
        </p:nvSpPr>
        <p:spPr bwMode="auto">
          <a:xfrm>
            <a:off x="731520" y="2071455"/>
            <a:ext cx="6367370" cy="3367109"/>
          </a:xfrm>
          <a:prstGeom prst="rect">
            <a:avLst/>
          </a:prstGeom>
          <a:noFill/>
          <a:ln w="9525">
            <a:noFill/>
            <a:miter lim="800000"/>
            <a:headEnd/>
            <a:tailEnd/>
          </a:ln>
          <a:effectLst/>
        </p:spPr>
        <p:txBody>
          <a:bodyPr vert="horz" wrap="square" lIns="72000" tIns="72000" rIns="72000" bIns="72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nSpc>
                <a:spcPct val="110000"/>
              </a:lnSpc>
              <a:spcAft>
                <a:spcPts val="0"/>
              </a:spcAft>
              <a:buClr>
                <a:schemeClr val="tx1">
                  <a:lumMod val="65000"/>
                  <a:lumOff val="35000"/>
                </a:schemeClr>
              </a:buClr>
              <a:buSzPct val="80000"/>
              <a:buNone/>
            </a:pPr>
            <a:r>
              <a:rPr lang="en-US" altLang="ja-JP" sz="1400">
                <a:solidFill>
                  <a:srgbClr val="4D4D4D"/>
                </a:solidFill>
                <a:latin typeface="Meiryo UI"/>
                <a:ea typeface="Meiryo UI"/>
              </a:rPr>
              <a:t>Hyper-competitive U.S. air travel market</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Growing demand for economy air travel (ex: low-fare airline)</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New airlines have emerged to target specific customer segments. </a:t>
            </a:r>
            <a:br>
              <a:rPr lang="en-US" altLang="ja-JP" sz="1050">
                <a:solidFill>
                  <a:srgbClr val="808080"/>
                </a:solidFill>
                <a:latin typeface="Meiryo UI"/>
                <a:ea typeface="Meiryo UI"/>
              </a:rPr>
            </a:br>
            <a:r>
              <a:rPr lang="en-US" altLang="ja-JP" sz="1050">
                <a:solidFill>
                  <a:srgbClr val="808080"/>
                </a:solidFill>
                <a:latin typeface="Meiryo UI"/>
                <a:ea typeface="Meiryo UI"/>
              </a:rPr>
              <a:t>(Less price-sensitive business traveler)</a:t>
            </a:r>
            <a:br>
              <a:rPr lang="en-US" altLang="ja-JP" sz="1050">
                <a:latin typeface="Meiryo UI" panose="020B0604030504040204" pitchFamily="50" charset="-128"/>
                <a:ea typeface="Meiryo UI" panose="020B0604030504040204" pitchFamily="50" charset="-128"/>
              </a:rPr>
            </a:br>
            <a:endParaRPr lang="en-US" altLang="ja-JP" sz="1400">
              <a:solidFill>
                <a:srgbClr val="808080"/>
              </a:solidFill>
              <a:latin typeface="Meiryo UI" panose="020B0604030504040204" pitchFamily="50" charset="-128"/>
              <a:ea typeface="Meiryo UI" panose="020B0604030504040204" pitchFamily="50" charset="-128"/>
            </a:endParaRPr>
          </a:p>
          <a:p>
            <a:pPr marL="0" lvl="1" indent="0">
              <a:lnSpc>
                <a:spcPct val="110000"/>
              </a:lnSpc>
              <a:spcAft>
                <a:spcPts val="0"/>
              </a:spcAft>
              <a:buClr>
                <a:schemeClr val="tx1">
                  <a:lumMod val="65000"/>
                  <a:lumOff val="35000"/>
                </a:schemeClr>
              </a:buClr>
              <a:buSzPct val="80000"/>
              <a:buNone/>
            </a:pPr>
            <a:r>
              <a:rPr lang="en-US" altLang="ja-JP" sz="1400">
                <a:solidFill>
                  <a:srgbClr val="4D4D4D"/>
                </a:solidFill>
                <a:latin typeface="Meiryo UI"/>
                <a:ea typeface="Meiryo UI"/>
              </a:rPr>
              <a:t>E-commerce Marketing had become a phenomenon in Travel industry</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The airlines own Direct Web sites to provide several services beyond the ability to purchase flights</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Consumers choose aggregator Web sites because they can do flight purchase, booking hotel.</a:t>
            </a:r>
          </a:p>
          <a:p>
            <a:pPr marL="0" lvl="1" indent="0">
              <a:lnSpc>
                <a:spcPct val="110000"/>
              </a:lnSpc>
              <a:spcAft>
                <a:spcPts val="0"/>
              </a:spcAft>
              <a:buClr>
                <a:schemeClr val="tx1">
                  <a:lumMod val="65000"/>
                  <a:lumOff val="35000"/>
                </a:schemeClr>
              </a:buClr>
              <a:buSzPct val="80000"/>
              <a:buNone/>
            </a:pPr>
            <a:endParaRPr lang="en-US" altLang="ja-JP" sz="1400">
              <a:solidFill>
                <a:srgbClr val="4D4D4D"/>
              </a:solidFill>
              <a:latin typeface="Meiryo UI"/>
              <a:ea typeface="Meiryo UI"/>
            </a:endParaRPr>
          </a:p>
          <a:p>
            <a:pPr marL="0" lvl="1" indent="0">
              <a:lnSpc>
                <a:spcPct val="110000"/>
              </a:lnSpc>
              <a:spcAft>
                <a:spcPts val="0"/>
              </a:spcAft>
              <a:buClr>
                <a:schemeClr val="tx1">
                  <a:lumMod val="65000"/>
                  <a:lumOff val="35000"/>
                </a:schemeClr>
              </a:buClr>
              <a:buSzPct val="80000"/>
              <a:buNone/>
            </a:pPr>
            <a:r>
              <a:rPr lang="en-US" altLang="ja-JP" sz="1400">
                <a:solidFill>
                  <a:srgbClr val="4D4D4D"/>
                </a:solidFill>
                <a:latin typeface="Meiryo UI"/>
                <a:ea typeface="Meiryo UI"/>
              </a:rPr>
              <a:t>Affiliated Web sites drive a growing volume of visitors to Air France</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Revenue from online ticket sales are growing</a:t>
            </a: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r>
              <a:rPr lang="en-US" altLang="ja-JP" sz="1050">
                <a:solidFill>
                  <a:srgbClr val="808080"/>
                </a:solidFill>
                <a:latin typeface="Meiryo UI"/>
                <a:ea typeface="Meiryo UI"/>
              </a:rPr>
              <a:t>They want to know more effective way to gain revenue through online Ads &amp; ROA</a:t>
            </a:r>
            <a:endParaRPr lang="en-US" altLang="ja-JP" sz="1400">
              <a:solidFill>
                <a:srgbClr val="4D4D4D"/>
              </a:solidFill>
              <a:latin typeface="Meiryo UI"/>
              <a:ea typeface="Meiryo UI"/>
            </a:endParaRP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endParaRPr lang="en-US" altLang="ja-JP" sz="1400">
              <a:solidFill>
                <a:srgbClr val="4D4D4D"/>
              </a:solidFill>
              <a:latin typeface="Meiryo UI" panose="020B0604030504040204" pitchFamily="50" charset="-128"/>
              <a:ea typeface="Meiryo UI" panose="020B0604030504040204" pitchFamily="50" charset="-128"/>
            </a:endParaRPr>
          </a:p>
          <a:p>
            <a:pPr marL="264795" lvl="1" indent="-175895">
              <a:lnSpc>
                <a:spcPct val="110000"/>
              </a:lnSpc>
              <a:spcBef>
                <a:spcPts val="0"/>
              </a:spcBef>
              <a:buClr>
                <a:schemeClr val="tx2">
                  <a:lumMod val="60000"/>
                  <a:lumOff val="40000"/>
                </a:schemeClr>
              </a:buClr>
              <a:buSzPct val="110000"/>
              <a:buFont typeface="Arial" panose="020B0604020202020204" pitchFamily="34" charset="0"/>
              <a:buChar char="•"/>
            </a:pPr>
            <a:endParaRPr lang="en-US" altLang="ja-JP" sz="1400">
              <a:solidFill>
                <a:srgbClr val="4D4D4D"/>
              </a:solidFill>
              <a:latin typeface="Meiryo UI" panose="020B0604030504040204" pitchFamily="50" charset="-128"/>
              <a:ea typeface="Meiryo UI" panose="020B0604030504040204" pitchFamily="50" charset="-128"/>
            </a:endParaRPr>
          </a:p>
        </p:txBody>
      </p:sp>
      <p:sp>
        <p:nvSpPr>
          <p:cNvPr id="31" name="Rechteck 6">
            <a:extLst>
              <a:ext uri="{FF2B5EF4-FFF2-40B4-BE49-F238E27FC236}">
                <a16:creationId xmlns:a16="http://schemas.microsoft.com/office/drawing/2014/main" id="{7E5CC38E-680A-4065-B3DC-0D7E64AB251D}"/>
              </a:ext>
            </a:extLst>
          </p:cNvPr>
          <p:cNvSpPr/>
          <p:nvPr>
            <p:custDataLst>
              <p:tags r:id="rId6"/>
            </p:custDataLst>
          </p:nvPr>
        </p:nvSpPr>
        <p:spPr bwMode="auto">
          <a:xfrm>
            <a:off x="7631084" y="1502505"/>
            <a:ext cx="3978660" cy="435042"/>
          </a:xfrm>
          <a:prstGeom prst="rect">
            <a:avLst/>
          </a:prstGeom>
          <a:noFill/>
          <a:ln w="9525">
            <a:noFill/>
            <a:miter lim="800000"/>
            <a:headEnd/>
            <a:tailEnd/>
          </a:ln>
          <a:effectLst/>
        </p:spPr>
        <p:txBody>
          <a:bodyPr wrap="none" lIns="90000" tIns="46800" rIns="90000" bIns="46800" anchor="b"/>
          <a:lstStyle/>
          <a:p>
            <a:pPr eaLnBrk="0" hangingPunct="0">
              <a:spcAft>
                <a:spcPct val="0"/>
              </a:spcAft>
            </a:pPr>
            <a:r>
              <a:rPr lang="en-US" sz="1600">
                <a:solidFill>
                  <a:schemeClr val="accent1"/>
                </a:solidFill>
                <a:latin typeface="Meiryo UI" panose="020B0604030504040204" pitchFamily="50" charset="-128"/>
                <a:ea typeface="Meiryo UI" panose="020B0604030504040204" pitchFamily="50" charset="-128"/>
              </a:rPr>
              <a:t>Objectives</a:t>
            </a:r>
            <a:endParaRPr lang="de-DE" sz="1600">
              <a:solidFill>
                <a:schemeClr val="accent1"/>
              </a:solidFill>
              <a:latin typeface="Meiryo UI" panose="020B0604030504040204" pitchFamily="50" charset="-128"/>
              <a:ea typeface="Meiryo UI" panose="020B0604030504040204" pitchFamily="50" charset="-128"/>
            </a:endParaRPr>
          </a:p>
        </p:txBody>
      </p:sp>
      <p:sp>
        <p:nvSpPr>
          <p:cNvPr id="33" name="Rechteck 6">
            <a:extLst>
              <a:ext uri="{FF2B5EF4-FFF2-40B4-BE49-F238E27FC236}">
                <a16:creationId xmlns:a16="http://schemas.microsoft.com/office/drawing/2014/main" id="{2DAD982F-FE92-4986-8D04-CC9D7E9352A3}"/>
              </a:ext>
            </a:extLst>
          </p:cNvPr>
          <p:cNvSpPr/>
          <p:nvPr>
            <p:custDataLst>
              <p:tags r:id="rId7"/>
            </p:custDataLst>
          </p:nvPr>
        </p:nvSpPr>
        <p:spPr bwMode="auto">
          <a:xfrm>
            <a:off x="731520" y="1521969"/>
            <a:ext cx="6367370" cy="435042"/>
          </a:xfrm>
          <a:prstGeom prst="rect">
            <a:avLst/>
          </a:prstGeom>
          <a:noFill/>
          <a:ln w="9525">
            <a:noFill/>
            <a:miter lim="800000"/>
            <a:headEnd/>
            <a:tailEnd/>
          </a:ln>
          <a:effectLst/>
        </p:spPr>
        <p:txBody>
          <a:bodyPr wrap="none" lIns="90000" tIns="46800" rIns="90000" bIns="46800" anchor="b"/>
          <a:lstStyle/>
          <a:p>
            <a:pPr eaLnBrk="0" hangingPunct="0">
              <a:spcAft>
                <a:spcPct val="0"/>
              </a:spcAft>
            </a:pPr>
            <a:r>
              <a:rPr lang="en-US" altLang="ja-JP" sz="1600">
                <a:solidFill>
                  <a:schemeClr val="accent1"/>
                </a:solidFill>
                <a:latin typeface="Meiryo UI" panose="020B0604030504040204" pitchFamily="50" charset="-128"/>
                <a:ea typeface="Meiryo UI" panose="020B0604030504040204" pitchFamily="50" charset="-128"/>
              </a:rPr>
              <a:t>Background on Travel Market &amp; Air France</a:t>
            </a:r>
            <a:endParaRPr lang="de-DE" altLang="ja-JP" sz="1600">
              <a:solidFill>
                <a:schemeClr val="accent1"/>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B90B5D2D-AA66-4078-9C54-AB25953908D8}"/>
              </a:ext>
            </a:extLst>
          </p:cNvPr>
          <p:cNvGrpSpPr/>
          <p:nvPr/>
        </p:nvGrpSpPr>
        <p:grpSpPr>
          <a:xfrm>
            <a:off x="7225287" y="2071456"/>
            <a:ext cx="279400" cy="3367109"/>
            <a:chOff x="7098890" y="1737417"/>
            <a:chExt cx="279400" cy="4024286"/>
          </a:xfrm>
        </p:grpSpPr>
        <p:cxnSp>
          <p:nvCxnSpPr>
            <p:cNvPr id="16" name="直線コネクタ 15">
              <a:extLst>
                <a:ext uri="{FF2B5EF4-FFF2-40B4-BE49-F238E27FC236}">
                  <a16:creationId xmlns:a16="http://schemas.microsoft.com/office/drawing/2014/main" id="{F0157094-9759-4B1F-BF31-8C5DEFDAA71A}"/>
                </a:ext>
              </a:extLst>
            </p:cNvPr>
            <p:cNvCxnSpPr/>
            <p:nvPr/>
          </p:nvCxnSpPr>
          <p:spPr>
            <a:xfrm>
              <a:off x="7238590" y="1737417"/>
              <a:ext cx="0" cy="4024286"/>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7" name="グループ化 16">
              <a:extLst>
                <a:ext uri="{FF2B5EF4-FFF2-40B4-BE49-F238E27FC236}">
                  <a16:creationId xmlns:a16="http://schemas.microsoft.com/office/drawing/2014/main" id="{89FAC6DA-D547-41DE-9AE4-053531E53181}"/>
                </a:ext>
              </a:extLst>
            </p:cNvPr>
            <p:cNvGrpSpPr/>
            <p:nvPr/>
          </p:nvGrpSpPr>
          <p:grpSpPr>
            <a:xfrm>
              <a:off x="7098890" y="3609860"/>
              <a:ext cx="279400" cy="279400"/>
              <a:chOff x="6310964" y="4352504"/>
              <a:chExt cx="279400" cy="279400"/>
            </a:xfrm>
          </p:grpSpPr>
          <p:sp>
            <p:nvSpPr>
              <p:cNvPr id="19" name="background">
                <a:extLst>
                  <a:ext uri="{FF2B5EF4-FFF2-40B4-BE49-F238E27FC236}">
                    <a16:creationId xmlns:a16="http://schemas.microsoft.com/office/drawing/2014/main" id="{B843188E-014F-4AF6-9847-910B689353B6}"/>
                  </a:ext>
                </a:extLst>
              </p:cNvPr>
              <p:cNvSpPr>
                <a:spLocks noChangeAspect="1"/>
              </p:cNvSpPr>
              <p:nvPr>
                <p:custDataLst>
                  <p:tags r:id="rId8"/>
                </p:custDataLst>
              </p:nvPr>
            </p:nvSpPr>
            <p:spPr>
              <a:xfrm>
                <a:off x="6310964" y="4352504"/>
                <a:ext cx="279400" cy="27940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endParaRPr kumimoji="1" lang="en-US" sz="1400">
                  <a:solidFill>
                    <a:schemeClr val="bg1"/>
                  </a:solidFill>
                </a:endParaRPr>
              </a:p>
            </p:txBody>
          </p:sp>
          <p:pic>
            <p:nvPicPr>
              <p:cNvPr id="20" name="グラフィックス 19">
                <a:extLst>
                  <a:ext uri="{FF2B5EF4-FFF2-40B4-BE49-F238E27FC236}">
                    <a16:creationId xmlns:a16="http://schemas.microsoft.com/office/drawing/2014/main" id="{F4F33844-04FA-4B8D-BFC2-681D7D98E8E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407125" y="4352504"/>
                <a:ext cx="104775" cy="279400"/>
              </a:xfrm>
              <a:prstGeom prst="rect">
                <a:avLst/>
              </a:prstGeom>
            </p:spPr>
          </p:pic>
        </p:grpSp>
      </p:grpSp>
      <p:sp>
        <p:nvSpPr>
          <p:cNvPr id="22" name="Google Shape;264;p15">
            <a:extLst>
              <a:ext uri="{FF2B5EF4-FFF2-40B4-BE49-F238E27FC236}">
                <a16:creationId xmlns:a16="http://schemas.microsoft.com/office/drawing/2014/main" id="{7AC1ACDB-835A-4BF3-B9F8-6B75FB733C63}"/>
              </a:ext>
            </a:extLst>
          </p:cNvPr>
          <p:cNvSpPr txBox="1"/>
          <p:nvPr/>
        </p:nvSpPr>
        <p:spPr>
          <a:xfrm>
            <a:off x="520680" y="6109785"/>
            <a:ext cx="3261598" cy="377072"/>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Lst>
        </p:spPr>
        <p:txBody>
          <a:bodyPr spcFirstLastPara="1" wrap="none" lIns="36000" tIns="36000" rIns="0" bIns="0" anchor="b" anchorCtr="0">
            <a:noAutofit/>
          </a:bodyPr>
          <a:lstStyle>
            <a:defPPr>
              <a:defRPr lang="ja-JP"/>
            </a:defPPr>
            <a:lvl1pPr marL="12696">
              <a:buClr>
                <a:srgbClr val="000000"/>
              </a:buClr>
              <a:buSzPts val="1450"/>
              <a:defRPr sz="1050">
                <a:solidFill>
                  <a:srgbClr val="4D4D4D"/>
                </a:solidFill>
                <a:latin typeface="Meiryo UI" panose="020B0604030504040204" pitchFamily="50" charset="-128"/>
                <a:ea typeface="Meiryo UI" panose="020B0604030504040204" pitchFamily="50" charset="-128"/>
                <a:cs typeface="Verdana"/>
              </a:defRPr>
            </a:lvl1pPr>
          </a:lstStyle>
          <a:p>
            <a:r>
              <a:rPr lang="en-US" altLang="ja-JP">
                <a:sym typeface="Arial"/>
              </a:rPr>
              <a:t>Source: Air France Marketing by Kellogg School  of Management</a:t>
            </a:r>
          </a:p>
        </p:txBody>
      </p:sp>
      <p:pic>
        <p:nvPicPr>
          <p:cNvPr id="21" name="Picture 20">
            <a:extLst>
              <a:ext uri="{FF2B5EF4-FFF2-40B4-BE49-F238E27FC236}">
                <a16:creationId xmlns:a16="http://schemas.microsoft.com/office/drawing/2014/main" id="{DF4B6B3E-31DE-41C9-8964-C1FBD8995E92}"/>
              </a:ext>
            </a:extLst>
          </p:cNvPr>
          <p:cNvPicPr>
            <a:picLocks noChangeAspect="1"/>
          </p:cNvPicPr>
          <p:nvPr/>
        </p:nvPicPr>
        <p:blipFill>
          <a:blip r:embed="rId14"/>
          <a:stretch>
            <a:fillRect/>
          </a:stretch>
        </p:blipFill>
        <p:spPr>
          <a:xfrm>
            <a:off x="10838909" y="26870"/>
            <a:ext cx="1332237" cy="749383"/>
          </a:xfrm>
          <a:prstGeom prst="rect">
            <a:avLst/>
          </a:prstGeom>
        </p:spPr>
      </p:pic>
      <p:sp>
        <p:nvSpPr>
          <p:cNvPr id="23" name="TextBox 22">
            <a:extLst>
              <a:ext uri="{FF2B5EF4-FFF2-40B4-BE49-F238E27FC236}">
                <a16:creationId xmlns:a16="http://schemas.microsoft.com/office/drawing/2014/main" id="{FCDCE987-E925-4B44-AB2E-FC0B0DC49391}"/>
              </a:ext>
            </a:extLst>
          </p:cNvPr>
          <p:cNvSpPr txBox="1"/>
          <p:nvPr/>
        </p:nvSpPr>
        <p:spPr>
          <a:xfrm>
            <a:off x="314325" y="6476599"/>
            <a:ext cx="4248150" cy="369332"/>
          </a:xfrm>
          <a:prstGeom prst="rect">
            <a:avLst/>
          </a:prstGeom>
          <a:solidFill>
            <a:srgbClr val="FFFFFF"/>
          </a:solidFill>
        </p:spPr>
        <p:txBody>
          <a:bodyPr wrap="square" rtlCol="0">
            <a:spAutoFit/>
          </a:bodyPr>
          <a:lstStyle/>
          <a:p>
            <a:endParaRPr kumimoji="1" lang="en-US"/>
          </a:p>
        </p:txBody>
      </p:sp>
    </p:spTree>
    <p:extLst>
      <p:ext uri="{BB962C8B-B14F-4D97-AF65-F5344CB8AC3E}">
        <p14:creationId xmlns:p14="http://schemas.microsoft.com/office/powerpoint/2010/main" val="38149125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8F6E819A-7BF9-42DD-87B7-810ED3EB495D}"/>
              </a:ext>
            </a:extLst>
          </p:cNvPr>
          <p:cNvGraphicFramePr>
            <a:graphicFrameLocks noChangeAspect="1"/>
          </p:cNvGraphicFramePr>
          <p:nvPr>
            <p:custDataLst>
              <p:tags r:id="rId2"/>
            </p:custDataLst>
            <p:extLst>
              <p:ext uri="{D42A27DB-BD31-4B8C-83A1-F6EECF244321}">
                <p14:modId xmlns:p14="http://schemas.microsoft.com/office/powerpoint/2010/main" val="3631726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306" imgH="306" progId="TCLayout.ActiveDocument.1">
                  <p:embed/>
                </p:oleObj>
              </mc:Choice>
              <mc:Fallback>
                <p:oleObj name="think-cell Slide" r:id="rId5" imgW="306" imgH="306" progId="TCLayout.ActiveDocument.1">
                  <p:embed/>
                  <p:pic>
                    <p:nvPicPr>
                      <p:cNvPr id="9" name="オブジェクト 8" hidden="1">
                        <a:extLst>
                          <a:ext uri="{FF2B5EF4-FFF2-40B4-BE49-F238E27FC236}">
                            <a16:creationId xmlns:a16="http://schemas.microsoft.com/office/drawing/2014/main" id="{8F6E819A-7BF9-42DD-87B7-810ED3EB49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1089D124-6461-421C-9CE3-6F57761E78FE}"/>
              </a:ext>
            </a:extLst>
          </p:cNvPr>
          <p:cNvSpPr>
            <a:spLocks noGrp="1"/>
          </p:cNvSpPr>
          <p:nvPr>
            <p:ph type="title"/>
          </p:nvPr>
        </p:nvSpPr>
        <p:spPr/>
        <p:txBody>
          <a:bodyPr vert="horz" lIns="0" tIns="45720" rIns="0" bIns="45720" rtlCol="0" anchor="ctr">
            <a:normAutofit/>
          </a:bodyPr>
          <a:lstStyle/>
          <a:p>
            <a:r>
              <a:rPr lang="en-US" altLang="ja-JP">
                <a:solidFill>
                  <a:schemeClr val="tx1">
                    <a:lumMod val="75000"/>
                    <a:lumOff val="25000"/>
                  </a:schemeClr>
                </a:solidFill>
                <a:sym typeface="游ゴシック" panose="020B0400000000000000" pitchFamily="50" charset="-128"/>
              </a:rPr>
              <a:t>3: Publisher Insights</a:t>
            </a:r>
            <a:endParaRPr lang="en-US">
              <a:solidFill>
                <a:schemeClr val="tx1">
                  <a:lumMod val="75000"/>
                  <a:lumOff val="25000"/>
                </a:schemeClr>
              </a:solidFill>
              <a:sym typeface="游ゴシック" panose="020B0400000000000000" pitchFamily="50" charset="-128"/>
            </a:endParaRPr>
          </a:p>
        </p:txBody>
      </p:sp>
      <p:sp>
        <p:nvSpPr>
          <p:cNvPr id="3" name="スライド番号プレースホルダー 2">
            <a:extLst>
              <a:ext uri="{FF2B5EF4-FFF2-40B4-BE49-F238E27FC236}">
                <a16:creationId xmlns:a16="http://schemas.microsoft.com/office/drawing/2014/main" id="{7D74EF18-9B7A-4C54-9D94-2F12A1B79057}"/>
              </a:ext>
            </a:extLst>
          </p:cNvPr>
          <p:cNvSpPr>
            <a:spLocks noGrp="1"/>
          </p:cNvSpPr>
          <p:nvPr>
            <p:ph type="sldNum" sz="quarter" idx="10"/>
          </p:nvPr>
        </p:nvSpPr>
        <p:spPr/>
        <p:txBody>
          <a:bodyPr/>
          <a:lstStyle/>
          <a:p>
            <a:fld id="{E479777B-F5DF-4157-96ED-74BFD422C06E}" type="slidenum">
              <a:rPr lang="ja-JP" altLang="en-US" smtClean="0">
                <a:latin typeface="游ゴシック" panose="020B0400000000000000" pitchFamily="50" charset="-128"/>
                <a:ea typeface="游ゴシック" panose="020B0400000000000000" pitchFamily="50" charset="-128"/>
                <a:sym typeface="游ゴシック" panose="020B0400000000000000" pitchFamily="50" charset="-128"/>
              </a:rPr>
              <a:pPr/>
              <a:t>4</a:t>
            </a:fld>
            <a:endParaRPr lang="ja-JP" altLang="en-US">
              <a:latin typeface="游ゴシック" panose="020B0400000000000000" pitchFamily="50" charset="-128"/>
              <a:ea typeface="游ゴシック" panose="020B0400000000000000" pitchFamily="50" charset="-128"/>
              <a:sym typeface="游ゴシック" panose="020B0400000000000000" pitchFamily="50" charset="-128"/>
            </a:endParaRPr>
          </a:p>
        </p:txBody>
      </p:sp>
      <p:sp>
        <p:nvSpPr>
          <p:cNvPr id="16" name="フッター プレースホルダー 5">
            <a:extLst>
              <a:ext uri="{FF2B5EF4-FFF2-40B4-BE49-F238E27FC236}">
                <a16:creationId xmlns:a16="http://schemas.microsoft.com/office/drawing/2014/main" id="{32A523B0-5DD4-4323-A056-35FF0345B491}"/>
              </a:ext>
            </a:extLst>
          </p:cNvPr>
          <p:cNvSpPr txBox="1">
            <a:spLocks/>
          </p:cNvSpPr>
          <p:nvPr/>
        </p:nvSpPr>
        <p:spPr>
          <a:xfrm>
            <a:off x="452449" y="6203550"/>
            <a:ext cx="11017224" cy="273049"/>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400">
              <a:solidFill>
                <a:schemeClr val="tx1">
                  <a:lumMod val="90000"/>
                  <a:lumOff val="10000"/>
                </a:schemeClr>
              </a:solidFill>
              <a:latin typeface="Meiryo UI" panose="020B0604030504040204" pitchFamily="50" charset="-128"/>
              <a:ea typeface="Meiryo UI" panose="020B0604030504040204" pitchFamily="50" charset="-128"/>
              <a:sym typeface="游ゴシック" panose="020B0400000000000000" pitchFamily="50" charset="-128"/>
            </a:endParaRPr>
          </a:p>
        </p:txBody>
      </p:sp>
      <p:sp>
        <p:nvSpPr>
          <p:cNvPr id="45" name="テキスト プレースホルダー 3">
            <a:extLst>
              <a:ext uri="{FF2B5EF4-FFF2-40B4-BE49-F238E27FC236}">
                <a16:creationId xmlns:a16="http://schemas.microsoft.com/office/drawing/2014/main" id="{79C0AD2C-DBE8-44D3-8274-56F6E09C5A09}"/>
              </a:ext>
            </a:extLst>
          </p:cNvPr>
          <p:cNvSpPr txBox="1">
            <a:spLocks/>
          </p:cNvSpPr>
          <p:nvPr/>
        </p:nvSpPr>
        <p:spPr>
          <a:xfrm>
            <a:off x="388807" y="751847"/>
            <a:ext cx="11412000" cy="419837"/>
          </a:xfrm>
          <a:prstGeom prst="rect">
            <a:avLst/>
          </a:prstGeom>
          <a:noFill/>
          <a:ln>
            <a:noFill/>
          </a:ln>
        </p:spPr>
        <p:txBody>
          <a:bodyPr vert="horz" lIns="91440" tIns="45720" rIns="91440" bIns="45720" rtlCol="0">
            <a:noAutofit/>
          </a:bodyPr>
          <a:lstStyle>
            <a:lvl1pPr marL="0" indent="0" algn="l" defTabSz="914400" rtl="0" eaLnBrk="1" latinLnBrk="0" hangingPunct="1">
              <a:lnSpc>
                <a:spcPct val="130000"/>
              </a:lnSpc>
              <a:spcBef>
                <a:spcPct val="0"/>
              </a:spcBef>
              <a:buFont typeface="Arial" panose="020B0604020202020204" pitchFamily="34" charset="0"/>
              <a:buNone/>
              <a:defRPr kumimoji="1" lang="ja-JP" altLang="en-US" sz="2000" b="1" kern="1200" dirty="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a:t>Depending on the parameter of interest we will choose the preferred search engine</a:t>
            </a:r>
          </a:p>
        </p:txBody>
      </p:sp>
      <p:pic>
        <p:nvPicPr>
          <p:cNvPr id="44" name="Picture 43">
            <a:extLst>
              <a:ext uri="{FF2B5EF4-FFF2-40B4-BE49-F238E27FC236}">
                <a16:creationId xmlns:a16="http://schemas.microsoft.com/office/drawing/2014/main" id="{B40AE246-96C5-4D90-954C-E5F676BABEE1}"/>
              </a:ext>
            </a:extLst>
          </p:cNvPr>
          <p:cNvPicPr>
            <a:picLocks noChangeAspect="1"/>
          </p:cNvPicPr>
          <p:nvPr/>
        </p:nvPicPr>
        <p:blipFill>
          <a:blip r:embed="rId7"/>
          <a:stretch>
            <a:fillRect/>
          </a:stretch>
        </p:blipFill>
        <p:spPr>
          <a:xfrm>
            <a:off x="10850238" y="-2774"/>
            <a:ext cx="1344000" cy="756000"/>
          </a:xfrm>
          <a:prstGeom prst="rect">
            <a:avLst/>
          </a:prstGeom>
        </p:spPr>
      </p:pic>
      <p:sp>
        <p:nvSpPr>
          <p:cNvPr id="46" name="TextBox 45">
            <a:extLst>
              <a:ext uri="{FF2B5EF4-FFF2-40B4-BE49-F238E27FC236}">
                <a16:creationId xmlns:a16="http://schemas.microsoft.com/office/drawing/2014/main" id="{ACBDD868-1A79-449F-9104-0428E47E0DAC}"/>
              </a:ext>
            </a:extLst>
          </p:cNvPr>
          <p:cNvSpPr txBox="1"/>
          <p:nvPr/>
        </p:nvSpPr>
        <p:spPr>
          <a:xfrm>
            <a:off x="314325" y="6476599"/>
            <a:ext cx="4248150" cy="369332"/>
          </a:xfrm>
          <a:prstGeom prst="rect">
            <a:avLst/>
          </a:prstGeom>
          <a:solidFill>
            <a:srgbClr val="FFFFFF"/>
          </a:solidFill>
        </p:spPr>
        <p:txBody>
          <a:bodyPr wrap="square" rtlCol="0">
            <a:spAutoFit/>
          </a:bodyPr>
          <a:lstStyle/>
          <a:p>
            <a:endParaRPr kumimoji="1" lang="en-US"/>
          </a:p>
        </p:txBody>
      </p:sp>
      <p:pic>
        <p:nvPicPr>
          <p:cNvPr id="47" name="Picture 46">
            <a:extLst>
              <a:ext uri="{FF2B5EF4-FFF2-40B4-BE49-F238E27FC236}">
                <a16:creationId xmlns:a16="http://schemas.microsoft.com/office/drawing/2014/main" id="{034A31F0-F30F-403F-AD8F-E239F7F1F547}"/>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42517" y="2445518"/>
            <a:ext cx="5132092" cy="3660635"/>
          </a:xfrm>
          <a:prstGeom prst="rect">
            <a:avLst/>
          </a:prstGeom>
        </p:spPr>
      </p:pic>
      <p:sp>
        <p:nvSpPr>
          <p:cNvPr id="50" name="四角形: 角を丸くする 47">
            <a:extLst>
              <a:ext uri="{FF2B5EF4-FFF2-40B4-BE49-F238E27FC236}">
                <a16:creationId xmlns:a16="http://schemas.microsoft.com/office/drawing/2014/main" id="{77F22D06-9156-4EFD-835C-D0696DF006BD}"/>
              </a:ext>
            </a:extLst>
          </p:cNvPr>
          <p:cNvSpPr/>
          <p:nvPr/>
        </p:nvSpPr>
        <p:spPr>
          <a:xfrm>
            <a:off x="508563" y="1775835"/>
            <a:ext cx="5400000"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600">
                <a:solidFill>
                  <a:schemeClr val="bg1"/>
                </a:solidFill>
                <a:latin typeface="+mn-ea"/>
              </a:rPr>
              <a:t>Total Bookings by Search Engines</a:t>
            </a:r>
            <a:endParaRPr kumimoji="1" lang="en-US" sz="1600">
              <a:solidFill>
                <a:schemeClr val="bg1"/>
              </a:solidFill>
              <a:latin typeface="+mn-ea"/>
            </a:endParaRPr>
          </a:p>
        </p:txBody>
      </p:sp>
      <p:sp>
        <p:nvSpPr>
          <p:cNvPr id="55" name="四角形: 角を丸くする 47">
            <a:extLst>
              <a:ext uri="{FF2B5EF4-FFF2-40B4-BE49-F238E27FC236}">
                <a16:creationId xmlns:a16="http://schemas.microsoft.com/office/drawing/2014/main" id="{F744FB79-80A5-4FFE-912E-197C96F94A04}"/>
              </a:ext>
            </a:extLst>
          </p:cNvPr>
          <p:cNvSpPr/>
          <p:nvPr/>
        </p:nvSpPr>
        <p:spPr>
          <a:xfrm>
            <a:off x="6425658" y="1775835"/>
            <a:ext cx="5400000"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sz="1600">
                <a:solidFill>
                  <a:schemeClr val="bg1"/>
                </a:solidFill>
                <a:latin typeface="+mn-ea"/>
              </a:rPr>
              <a:t>Conversion Rates by Search Engines</a:t>
            </a:r>
          </a:p>
        </p:txBody>
      </p:sp>
      <p:pic>
        <p:nvPicPr>
          <p:cNvPr id="15" name="Picture 14" descr="Chart, bar chart&#10;&#10;Description automatically generated">
            <a:extLst>
              <a:ext uri="{FF2B5EF4-FFF2-40B4-BE49-F238E27FC236}">
                <a16:creationId xmlns:a16="http://schemas.microsoft.com/office/drawing/2014/main" id="{29C53EFC-1719-BE44-ACFF-B744978C148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25658" y="2540325"/>
            <a:ext cx="5400000" cy="3493115"/>
          </a:xfrm>
          <a:prstGeom prst="rect">
            <a:avLst/>
          </a:prstGeom>
        </p:spPr>
      </p:pic>
      <p:sp>
        <p:nvSpPr>
          <p:cNvPr id="56" name="Circle: Hollow 55">
            <a:extLst>
              <a:ext uri="{FF2B5EF4-FFF2-40B4-BE49-F238E27FC236}">
                <a16:creationId xmlns:a16="http://schemas.microsoft.com/office/drawing/2014/main" id="{E77A8164-C1B4-4A55-ADBA-A23EAF6A1632}"/>
              </a:ext>
            </a:extLst>
          </p:cNvPr>
          <p:cNvSpPr/>
          <p:nvPr/>
        </p:nvSpPr>
        <p:spPr>
          <a:xfrm>
            <a:off x="6838950" y="2657475"/>
            <a:ext cx="583377" cy="302688"/>
          </a:xfrm>
          <a:prstGeom prst="donut">
            <a:avLst>
              <a:gd name="adj" fmla="val 4232"/>
            </a:avLst>
          </a:prstGeom>
          <a:solidFill>
            <a:srgbClr val="CC0000"/>
          </a:solidFill>
          <a:ln w="1270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57" name="Circle: Hollow 56">
            <a:extLst>
              <a:ext uri="{FF2B5EF4-FFF2-40B4-BE49-F238E27FC236}">
                <a16:creationId xmlns:a16="http://schemas.microsoft.com/office/drawing/2014/main" id="{2A0BF585-E673-4BA5-B63F-851B31FA5CCF}"/>
              </a:ext>
            </a:extLst>
          </p:cNvPr>
          <p:cNvSpPr/>
          <p:nvPr/>
        </p:nvSpPr>
        <p:spPr>
          <a:xfrm>
            <a:off x="5029200" y="2621831"/>
            <a:ext cx="583377" cy="302688"/>
          </a:xfrm>
          <a:prstGeom prst="donut">
            <a:avLst>
              <a:gd name="adj" fmla="val 4232"/>
            </a:avLst>
          </a:prstGeom>
          <a:solidFill>
            <a:srgbClr val="CC0000"/>
          </a:solidFill>
          <a:ln w="1270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58" name="Circle: Hollow 57">
            <a:extLst>
              <a:ext uri="{FF2B5EF4-FFF2-40B4-BE49-F238E27FC236}">
                <a16:creationId xmlns:a16="http://schemas.microsoft.com/office/drawing/2014/main" id="{D69EFD27-50A2-4182-B3AA-7ADA2AA99FA3}"/>
              </a:ext>
            </a:extLst>
          </p:cNvPr>
          <p:cNvSpPr/>
          <p:nvPr/>
        </p:nvSpPr>
        <p:spPr>
          <a:xfrm>
            <a:off x="3733800" y="4232301"/>
            <a:ext cx="583377" cy="302688"/>
          </a:xfrm>
          <a:prstGeom prst="donut">
            <a:avLst>
              <a:gd name="adj" fmla="val 4232"/>
            </a:avLst>
          </a:prstGeom>
          <a:solidFill>
            <a:srgbClr val="CC0000"/>
          </a:solidFill>
          <a:ln w="1270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
        <p:nvSpPr>
          <p:cNvPr id="59" name="Circle: Hollow 58">
            <a:extLst>
              <a:ext uri="{FF2B5EF4-FFF2-40B4-BE49-F238E27FC236}">
                <a16:creationId xmlns:a16="http://schemas.microsoft.com/office/drawing/2014/main" id="{EB896247-9292-4CA2-B160-F984D5F9C948}"/>
              </a:ext>
            </a:extLst>
          </p:cNvPr>
          <p:cNvSpPr/>
          <p:nvPr/>
        </p:nvSpPr>
        <p:spPr>
          <a:xfrm>
            <a:off x="9661367" y="3883599"/>
            <a:ext cx="583377" cy="302688"/>
          </a:xfrm>
          <a:prstGeom prst="donut">
            <a:avLst>
              <a:gd name="adj" fmla="val 4232"/>
            </a:avLst>
          </a:prstGeom>
          <a:solidFill>
            <a:srgbClr val="CC0000"/>
          </a:solidFill>
          <a:ln w="1270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solidFill>
                <a:schemeClr val="tx1"/>
              </a:solidFill>
            </a:endParaRPr>
          </a:p>
        </p:txBody>
      </p:sp>
    </p:spTree>
    <p:extLst>
      <p:ext uri="{BB962C8B-B14F-4D97-AF65-F5344CB8AC3E}">
        <p14:creationId xmlns:p14="http://schemas.microsoft.com/office/powerpoint/2010/main" val="2954875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8F6E819A-7BF9-42DD-87B7-810ED3EB495D}"/>
              </a:ext>
            </a:extLst>
          </p:cNvPr>
          <p:cNvGraphicFramePr>
            <a:graphicFrameLocks noChangeAspect="1"/>
          </p:cNvGraphicFramePr>
          <p:nvPr>
            <p:custDataLst>
              <p:tags r:id="rId2"/>
            </p:custDataLst>
            <p:extLst>
              <p:ext uri="{D42A27DB-BD31-4B8C-83A1-F6EECF244321}">
                <p14:modId xmlns:p14="http://schemas.microsoft.com/office/powerpoint/2010/main" val="2401616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306" imgH="306" progId="TCLayout.ActiveDocument.1">
                  <p:embed/>
                </p:oleObj>
              </mc:Choice>
              <mc:Fallback>
                <p:oleObj name="think-cell Slide" r:id="rId5" imgW="306" imgH="306" progId="TCLayout.ActiveDocument.1">
                  <p:embed/>
                  <p:pic>
                    <p:nvPicPr>
                      <p:cNvPr id="9" name="オブジェクト 8" hidden="1">
                        <a:extLst>
                          <a:ext uri="{FF2B5EF4-FFF2-40B4-BE49-F238E27FC236}">
                            <a16:creationId xmlns:a16="http://schemas.microsoft.com/office/drawing/2014/main" id="{8F6E819A-7BF9-42DD-87B7-810ED3EB49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1089D124-6461-421C-9CE3-6F57761E78FE}"/>
              </a:ext>
            </a:extLst>
          </p:cNvPr>
          <p:cNvSpPr>
            <a:spLocks noGrp="1"/>
          </p:cNvSpPr>
          <p:nvPr>
            <p:ph type="title"/>
          </p:nvPr>
        </p:nvSpPr>
        <p:spPr/>
        <p:txBody>
          <a:bodyPr vert="horz" lIns="0" tIns="45720" rIns="0" bIns="45720" rtlCol="0" anchor="ctr">
            <a:normAutofit/>
          </a:bodyPr>
          <a:lstStyle/>
          <a:p>
            <a:r>
              <a:rPr lang="en-US">
                <a:solidFill>
                  <a:schemeClr val="tx1">
                    <a:lumMod val="75000"/>
                    <a:lumOff val="25000"/>
                  </a:schemeClr>
                </a:solidFill>
                <a:sym typeface="游ゴシック" panose="020B0400000000000000" pitchFamily="50" charset="-128"/>
              </a:rPr>
              <a:t>4: Search Engines Insights</a:t>
            </a:r>
          </a:p>
        </p:txBody>
      </p:sp>
      <p:sp>
        <p:nvSpPr>
          <p:cNvPr id="3" name="スライド番号プレースホルダー 2">
            <a:extLst>
              <a:ext uri="{FF2B5EF4-FFF2-40B4-BE49-F238E27FC236}">
                <a16:creationId xmlns:a16="http://schemas.microsoft.com/office/drawing/2014/main" id="{7D74EF18-9B7A-4C54-9D94-2F12A1B79057}"/>
              </a:ext>
            </a:extLst>
          </p:cNvPr>
          <p:cNvSpPr>
            <a:spLocks noGrp="1"/>
          </p:cNvSpPr>
          <p:nvPr>
            <p:ph type="sldNum" sz="quarter" idx="10"/>
          </p:nvPr>
        </p:nvSpPr>
        <p:spPr/>
        <p:txBody>
          <a:bodyPr/>
          <a:lstStyle/>
          <a:p>
            <a:fld id="{E479777B-F5DF-4157-96ED-74BFD422C06E}" type="slidenum">
              <a:rPr lang="ja-JP" altLang="en-US" smtClean="0">
                <a:latin typeface="游ゴシック" panose="020B0400000000000000" pitchFamily="50" charset="-128"/>
                <a:ea typeface="游ゴシック" panose="020B0400000000000000" pitchFamily="50" charset="-128"/>
                <a:sym typeface="游ゴシック" panose="020B0400000000000000" pitchFamily="50" charset="-128"/>
              </a:rPr>
              <a:pPr/>
              <a:t>5</a:t>
            </a:fld>
            <a:endParaRPr lang="ja-JP" altLang="en-US">
              <a:latin typeface="游ゴシック" panose="020B0400000000000000" pitchFamily="50" charset="-128"/>
              <a:ea typeface="游ゴシック" panose="020B0400000000000000" pitchFamily="50" charset="-128"/>
              <a:sym typeface="游ゴシック" panose="020B0400000000000000" pitchFamily="50" charset="-128"/>
            </a:endParaRPr>
          </a:p>
        </p:txBody>
      </p:sp>
      <p:sp>
        <p:nvSpPr>
          <p:cNvPr id="16" name="フッター プレースホルダー 5">
            <a:extLst>
              <a:ext uri="{FF2B5EF4-FFF2-40B4-BE49-F238E27FC236}">
                <a16:creationId xmlns:a16="http://schemas.microsoft.com/office/drawing/2014/main" id="{32A523B0-5DD4-4323-A056-35FF0345B491}"/>
              </a:ext>
            </a:extLst>
          </p:cNvPr>
          <p:cNvSpPr txBox="1">
            <a:spLocks/>
          </p:cNvSpPr>
          <p:nvPr/>
        </p:nvSpPr>
        <p:spPr>
          <a:xfrm>
            <a:off x="452449" y="6203550"/>
            <a:ext cx="11017224" cy="273049"/>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400">
              <a:solidFill>
                <a:schemeClr val="tx1">
                  <a:lumMod val="90000"/>
                  <a:lumOff val="10000"/>
                </a:schemeClr>
              </a:solidFill>
              <a:latin typeface="Meiryo UI" panose="020B0604030504040204" pitchFamily="50" charset="-128"/>
              <a:ea typeface="Meiryo UI" panose="020B0604030504040204" pitchFamily="50" charset="-128"/>
              <a:sym typeface="游ゴシック" panose="020B0400000000000000" pitchFamily="50" charset="-128"/>
            </a:endParaRPr>
          </a:p>
        </p:txBody>
      </p:sp>
      <p:sp>
        <p:nvSpPr>
          <p:cNvPr id="45" name="テキスト プレースホルダー 3">
            <a:extLst>
              <a:ext uri="{FF2B5EF4-FFF2-40B4-BE49-F238E27FC236}">
                <a16:creationId xmlns:a16="http://schemas.microsoft.com/office/drawing/2014/main" id="{79C0AD2C-DBE8-44D3-8274-56F6E09C5A09}"/>
              </a:ext>
            </a:extLst>
          </p:cNvPr>
          <p:cNvSpPr txBox="1">
            <a:spLocks/>
          </p:cNvSpPr>
          <p:nvPr/>
        </p:nvSpPr>
        <p:spPr>
          <a:xfrm>
            <a:off x="388807" y="751847"/>
            <a:ext cx="11412000" cy="419837"/>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30000"/>
              </a:lnSpc>
              <a:spcBef>
                <a:spcPct val="0"/>
              </a:spcBef>
              <a:buFont typeface="Arial" panose="020B0604020202020204" pitchFamily="34" charset="0"/>
              <a:buNone/>
              <a:defRPr kumimoji="1" lang="ja-JP" altLang="en-US" sz="2000" b="1" kern="1200" dirty="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6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a:latin typeface="Meiryo UI"/>
                <a:ea typeface="Meiryo UI"/>
              </a:rPr>
              <a:t>Maximizing The Revenue By Choosing The Campaingn With Highest Converstion Rate</a:t>
            </a:r>
            <a:endParaRPr lang="en-US" altLang="ja-JP"/>
          </a:p>
        </p:txBody>
      </p:sp>
      <p:pic>
        <p:nvPicPr>
          <p:cNvPr id="44" name="Picture 43">
            <a:extLst>
              <a:ext uri="{FF2B5EF4-FFF2-40B4-BE49-F238E27FC236}">
                <a16:creationId xmlns:a16="http://schemas.microsoft.com/office/drawing/2014/main" id="{B40AE246-96C5-4D90-954C-E5F676BABEE1}"/>
              </a:ext>
            </a:extLst>
          </p:cNvPr>
          <p:cNvPicPr>
            <a:picLocks noChangeAspect="1"/>
          </p:cNvPicPr>
          <p:nvPr/>
        </p:nvPicPr>
        <p:blipFill>
          <a:blip r:embed="rId7"/>
          <a:stretch>
            <a:fillRect/>
          </a:stretch>
        </p:blipFill>
        <p:spPr>
          <a:xfrm>
            <a:off x="10850238" y="-2774"/>
            <a:ext cx="1344000" cy="756000"/>
          </a:xfrm>
          <a:prstGeom prst="rect">
            <a:avLst/>
          </a:prstGeom>
        </p:spPr>
      </p:pic>
      <p:sp>
        <p:nvSpPr>
          <p:cNvPr id="46" name="TextBox 45">
            <a:extLst>
              <a:ext uri="{FF2B5EF4-FFF2-40B4-BE49-F238E27FC236}">
                <a16:creationId xmlns:a16="http://schemas.microsoft.com/office/drawing/2014/main" id="{ACBDD868-1A79-449F-9104-0428E47E0DAC}"/>
              </a:ext>
            </a:extLst>
          </p:cNvPr>
          <p:cNvSpPr txBox="1"/>
          <p:nvPr/>
        </p:nvSpPr>
        <p:spPr>
          <a:xfrm>
            <a:off x="314325" y="6476599"/>
            <a:ext cx="4248150" cy="369332"/>
          </a:xfrm>
          <a:prstGeom prst="rect">
            <a:avLst/>
          </a:prstGeom>
          <a:solidFill>
            <a:srgbClr val="FFFFFF"/>
          </a:solidFill>
        </p:spPr>
        <p:txBody>
          <a:bodyPr wrap="square" rtlCol="0">
            <a:spAutoFit/>
          </a:bodyPr>
          <a:lstStyle/>
          <a:p>
            <a:endParaRPr kumimoji="1" lang="en-US"/>
          </a:p>
        </p:txBody>
      </p:sp>
      <p:sp>
        <p:nvSpPr>
          <p:cNvPr id="50" name="四角形: 角を丸くする 47">
            <a:extLst>
              <a:ext uri="{FF2B5EF4-FFF2-40B4-BE49-F238E27FC236}">
                <a16:creationId xmlns:a16="http://schemas.microsoft.com/office/drawing/2014/main" id="{77F22D06-9156-4EFD-835C-D0696DF006BD}"/>
              </a:ext>
            </a:extLst>
          </p:cNvPr>
          <p:cNvSpPr/>
          <p:nvPr/>
        </p:nvSpPr>
        <p:spPr>
          <a:xfrm>
            <a:off x="508563" y="1775835"/>
            <a:ext cx="5400000"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p>
            <a:pPr algn="ctr"/>
            <a:r>
              <a:rPr lang="en-US" altLang="ja-JP" sz="1600">
                <a:solidFill>
                  <a:schemeClr val="bg1"/>
                </a:solidFill>
                <a:latin typeface="游ゴシック"/>
                <a:ea typeface="游ゴシック"/>
              </a:rPr>
              <a:t>Profit margin </a:t>
            </a:r>
            <a:r>
              <a:rPr kumimoji="1" lang="en-US" altLang="ja-JP" sz="1600">
                <a:solidFill>
                  <a:schemeClr val="bg1"/>
                </a:solidFill>
                <a:latin typeface="游ゴシック"/>
                <a:ea typeface="游ゴシック"/>
              </a:rPr>
              <a:t>by </a:t>
            </a:r>
            <a:r>
              <a:rPr lang="en-US" altLang="ja-JP" sz="1600">
                <a:solidFill>
                  <a:schemeClr val="bg1"/>
                </a:solidFill>
                <a:latin typeface="游ゴシック"/>
                <a:ea typeface="游ゴシック"/>
              </a:rPr>
              <a:t>Campaign</a:t>
            </a:r>
            <a:endParaRPr kumimoji="1" lang="en-US" sz="1600">
              <a:solidFill>
                <a:schemeClr val="bg1"/>
              </a:solidFill>
              <a:latin typeface="游ゴシック"/>
              <a:ea typeface="游ゴシック"/>
            </a:endParaRPr>
          </a:p>
        </p:txBody>
      </p:sp>
      <p:sp>
        <p:nvSpPr>
          <p:cNvPr id="55" name="四角形: 角を丸くする 47">
            <a:extLst>
              <a:ext uri="{FF2B5EF4-FFF2-40B4-BE49-F238E27FC236}">
                <a16:creationId xmlns:a16="http://schemas.microsoft.com/office/drawing/2014/main" id="{F744FB79-80A5-4FFE-912E-197C96F94A04}"/>
              </a:ext>
            </a:extLst>
          </p:cNvPr>
          <p:cNvSpPr/>
          <p:nvPr/>
        </p:nvSpPr>
        <p:spPr>
          <a:xfrm>
            <a:off x="6425658" y="1775835"/>
            <a:ext cx="5400000"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ctr"/>
          <a:lstStyle/>
          <a:p>
            <a:pPr algn="ctr"/>
            <a:r>
              <a:rPr lang="en-US" sz="1600">
                <a:solidFill>
                  <a:schemeClr val="bg1"/>
                </a:solidFill>
                <a:latin typeface="+mn-ea"/>
              </a:rPr>
              <a:t>TOP</a:t>
            </a:r>
            <a:r>
              <a:rPr kumimoji="1" lang="en-US" sz="1600">
                <a:solidFill>
                  <a:schemeClr val="bg1"/>
                </a:solidFill>
                <a:latin typeface="+mn-ea"/>
              </a:rPr>
              <a:t> </a:t>
            </a:r>
            <a:r>
              <a:rPr lang="en-US" sz="1600">
                <a:solidFill>
                  <a:schemeClr val="bg1"/>
                </a:solidFill>
                <a:latin typeface="+mn-ea"/>
              </a:rPr>
              <a:t>3 Profit margin </a:t>
            </a:r>
            <a:r>
              <a:rPr kumimoji="1" lang="en-US" sz="1600">
                <a:solidFill>
                  <a:schemeClr val="bg1"/>
                </a:solidFill>
                <a:latin typeface="+mn-ea"/>
              </a:rPr>
              <a:t>by </a:t>
            </a:r>
            <a:r>
              <a:rPr lang="en-US" sz="1600">
                <a:solidFill>
                  <a:schemeClr val="bg1"/>
                </a:solidFill>
                <a:latin typeface="+mn-ea"/>
              </a:rPr>
              <a:t>Campaign</a:t>
            </a:r>
            <a:endParaRPr kumimoji="1" lang="en-US" sz="1600">
              <a:solidFill>
                <a:schemeClr val="bg1"/>
              </a:solidFill>
              <a:latin typeface="+mn-ea"/>
            </a:endParaRPr>
          </a:p>
        </p:txBody>
      </p:sp>
      <p:pic>
        <p:nvPicPr>
          <p:cNvPr id="20" name="Picture 19" descr="Chart, waterfall chart&#10;&#10;Description automatically generated">
            <a:extLst>
              <a:ext uri="{FF2B5EF4-FFF2-40B4-BE49-F238E27FC236}">
                <a16:creationId xmlns:a16="http://schemas.microsoft.com/office/drawing/2014/main" id="{F3EC93DA-2DFB-4D51-85EF-776CBFBED5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8563" y="2618773"/>
            <a:ext cx="5400000" cy="3135027"/>
          </a:xfrm>
          <a:prstGeom prst="rect">
            <a:avLst/>
          </a:prstGeom>
        </p:spPr>
      </p:pic>
      <p:pic>
        <p:nvPicPr>
          <p:cNvPr id="21" name="Picture 20" descr="Chart, bar chart, waterfall chart&#10;&#10;Description automatically generated">
            <a:extLst>
              <a:ext uri="{FF2B5EF4-FFF2-40B4-BE49-F238E27FC236}">
                <a16:creationId xmlns:a16="http://schemas.microsoft.com/office/drawing/2014/main" id="{1F04CC5F-2EAE-45D1-ADC8-DA1547A25A5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67995" y="2618773"/>
            <a:ext cx="5515326" cy="3135027"/>
          </a:xfrm>
          <a:prstGeom prst="rect">
            <a:avLst/>
          </a:prstGeom>
        </p:spPr>
      </p:pic>
    </p:spTree>
    <p:extLst>
      <p:ext uri="{BB962C8B-B14F-4D97-AF65-F5344CB8AC3E}">
        <p14:creationId xmlns:p14="http://schemas.microsoft.com/office/powerpoint/2010/main" val="3969723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オブジェクト 27" hidden="1">
            <a:extLst>
              <a:ext uri="{FF2B5EF4-FFF2-40B4-BE49-F238E27FC236}">
                <a16:creationId xmlns:a16="http://schemas.microsoft.com/office/drawing/2014/main" id="{B36CBB83-C66F-46FB-9298-BE9A41FFAF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60" imgH="360" progId="TCLayout.ActiveDocument.1">
                  <p:embed/>
                </p:oleObj>
              </mc:Choice>
              <mc:Fallback>
                <p:oleObj name="think-cell Slide" r:id="rId5" imgW="360" imgH="360" progId="TCLayout.ActiveDocument.1">
                  <p:embed/>
                  <p:pic>
                    <p:nvPicPr>
                      <p:cNvPr id="28" name="オブジェクト 27" hidden="1">
                        <a:extLst>
                          <a:ext uri="{FF2B5EF4-FFF2-40B4-BE49-F238E27FC236}">
                            <a16:creationId xmlns:a16="http://schemas.microsoft.com/office/drawing/2014/main" id="{B36CBB83-C66F-46FB-9298-BE9A41FFAF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BD7C075-4BCD-4C18-9857-16948C589A18}"/>
              </a:ext>
            </a:extLst>
          </p:cNvPr>
          <p:cNvSpPr>
            <a:spLocks noGrp="1"/>
          </p:cNvSpPr>
          <p:nvPr>
            <p:ph type="title"/>
          </p:nvPr>
        </p:nvSpPr>
        <p:spPr/>
        <p:txBody>
          <a:bodyPr vert="horz"/>
          <a:lstStyle/>
          <a:p>
            <a:r>
              <a:rPr lang="en-US">
                <a:latin typeface="+mn-ea"/>
                <a:ea typeface="+mn-ea"/>
              </a:rPr>
              <a:t>5:Bid Strategy Insights</a:t>
            </a:r>
          </a:p>
        </p:txBody>
      </p:sp>
      <p:sp>
        <p:nvSpPr>
          <p:cNvPr id="3" name="スライド番号プレースホルダー 2">
            <a:extLst>
              <a:ext uri="{FF2B5EF4-FFF2-40B4-BE49-F238E27FC236}">
                <a16:creationId xmlns:a16="http://schemas.microsoft.com/office/drawing/2014/main" id="{4F9AA9BC-FCB3-45B8-9A8F-304C473039D9}"/>
              </a:ext>
            </a:extLst>
          </p:cNvPr>
          <p:cNvSpPr>
            <a:spLocks noGrp="1"/>
          </p:cNvSpPr>
          <p:nvPr>
            <p:ph type="sldNum" sz="quarter" idx="10"/>
          </p:nvPr>
        </p:nvSpPr>
        <p:spPr/>
        <p:txBody>
          <a:bodyPr/>
          <a:lstStyle/>
          <a:p>
            <a:fld id="{E479777B-F5DF-4157-96ED-74BFD422C06E}" type="slidenum">
              <a:rPr lang="ja-JP" altLang="en-US" smtClean="0">
                <a:latin typeface="+mn-ea"/>
                <a:ea typeface="+mn-ea"/>
              </a:rPr>
              <a:pPr/>
              <a:t>6</a:t>
            </a:fld>
            <a:endParaRPr lang="ja-JP" altLang="en-US">
              <a:latin typeface="+mn-ea"/>
              <a:ea typeface="+mn-ea"/>
            </a:endParaRPr>
          </a:p>
        </p:txBody>
      </p:sp>
      <p:sp>
        <p:nvSpPr>
          <p:cNvPr id="4" name="テキスト プレースホルダー 3">
            <a:extLst>
              <a:ext uri="{FF2B5EF4-FFF2-40B4-BE49-F238E27FC236}">
                <a16:creationId xmlns:a16="http://schemas.microsoft.com/office/drawing/2014/main" id="{E6D634C7-C05C-451A-A8D9-AEAE38D7648E}"/>
              </a:ext>
            </a:extLst>
          </p:cNvPr>
          <p:cNvSpPr>
            <a:spLocks noGrp="1"/>
          </p:cNvSpPr>
          <p:nvPr>
            <p:ph type="body" sz="quarter" idx="13"/>
          </p:nvPr>
        </p:nvSpPr>
        <p:spPr>
          <a:noFill/>
          <a:ln>
            <a:noFill/>
          </a:ln>
        </p:spPr>
        <p:txBody>
          <a:bodyPr vert="horz" lIns="91440" tIns="45720" rIns="91440" bIns="45720" rtlCol="0" anchor="t">
            <a:noAutofit/>
          </a:bodyPr>
          <a:lstStyle/>
          <a:p>
            <a:r>
              <a:rPr lang="en-US" altLang="ja-JP">
                <a:latin typeface="Meiryo UI"/>
                <a:ea typeface="Meiryo UI"/>
              </a:rPr>
              <a:t>Profit  V/S Bid Strategy</a:t>
            </a:r>
            <a:endParaRPr lang="en-US"/>
          </a:p>
        </p:txBody>
      </p:sp>
      <p:sp>
        <p:nvSpPr>
          <p:cNvPr id="48" name="四角形: 角を丸くする 47">
            <a:extLst>
              <a:ext uri="{FF2B5EF4-FFF2-40B4-BE49-F238E27FC236}">
                <a16:creationId xmlns:a16="http://schemas.microsoft.com/office/drawing/2014/main" id="{88533EB3-AC2C-4733-8F5C-4AB1082B2D9B}"/>
              </a:ext>
            </a:extLst>
          </p:cNvPr>
          <p:cNvSpPr/>
          <p:nvPr/>
        </p:nvSpPr>
        <p:spPr>
          <a:xfrm>
            <a:off x="619124" y="1504335"/>
            <a:ext cx="6307600"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600">
                <a:solidFill>
                  <a:schemeClr val="bg1"/>
                </a:solidFill>
                <a:latin typeface="+mn-ea"/>
              </a:rPr>
              <a:t>Title of below charts</a:t>
            </a:r>
            <a:endParaRPr kumimoji="1" lang="en-US" sz="1600">
              <a:solidFill>
                <a:schemeClr val="bg1"/>
              </a:solidFill>
              <a:latin typeface="+mn-ea"/>
            </a:endParaRPr>
          </a:p>
        </p:txBody>
      </p:sp>
      <p:sp>
        <p:nvSpPr>
          <p:cNvPr id="62" name="四角形: 角を丸くする 61">
            <a:extLst>
              <a:ext uri="{FF2B5EF4-FFF2-40B4-BE49-F238E27FC236}">
                <a16:creationId xmlns:a16="http://schemas.microsoft.com/office/drawing/2014/main" id="{2190053A-1D31-4634-B655-AB21106EB55A}"/>
              </a:ext>
            </a:extLst>
          </p:cNvPr>
          <p:cNvSpPr/>
          <p:nvPr/>
        </p:nvSpPr>
        <p:spPr>
          <a:xfrm>
            <a:off x="7305061" y="1504335"/>
            <a:ext cx="4306836" cy="39318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600">
                <a:solidFill>
                  <a:schemeClr val="bg1"/>
                </a:solidFill>
                <a:latin typeface="+mn-ea"/>
              </a:rPr>
              <a:t>Key findings</a:t>
            </a:r>
            <a:endParaRPr kumimoji="1" lang="en-US" sz="1600">
              <a:solidFill>
                <a:schemeClr val="bg1"/>
              </a:solidFill>
              <a:latin typeface="+mn-ea"/>
            </a:endParaRPr>
          </a:p>
        </p:txBody>
      </p:sp>
      <p:sp>
        <p:nvSpPr>
          <p:cNvPr id="63" name="角丸四角形 60">
            <a:extLst>
              <a:ext uri="{FF2B5EF4-FFF2-40B4-BE49-F238E27FC236}">
                <a16:creationId xmlns:a16="http://schemas.microsoft.com/office/drawing/2014/main" id="{E951A253-998F-4CA2-9006-31F1906FADC9}"/>
              </a:ext>
            </a:extLst>
          </p:cNvPr>
          <p:cNvSpPr/>
          <p:nvPr/>
        </p:nvSpPr>
        <p:spPr>
          <a:xfrm>
            <a:off x="7305061" y="2371513"/>
            <a:ext cx="2064750" cy="1678863"/>
          </a:xfrm>
          <a:prstGeom prst="roundRect">
            <a:avLst>
              <a:gd name="adj" fmla="val 4764"/>
            </a:avLst>
          </a:prstGeom>
          <a:solidFill>
            <a:schemeClr val="bg1"/>
          </a:solidFill>
          <a:ln w="1270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altLang="ja-JP" sz="1600">
                <a:solidFill>
                  <a:schemeClr val="tx1"/>
                </a:solidFill>
                <a:ea typeface="游ゴシック"/>
              </a:rPr>
              <a:t>The profit is shows $400000 when the position if the bid is top 3.</a:t>
            </a:r>
          </a:p>
        </p:txBody>
      </p:sp>
      <p:sp>
        <p:nvSpPr>
          <p:cNvPr id="64" name="角丸四角形 60">
            <a:extLst>
              <a:ext uri="{FF2B5EF4-FFF2-40B4-BE49-F238E27FC236}">
                <a16:creationId xmlns:a16="http://schemas.microsoft.com/office/drawing/2014/main" id="{B14B8F9E-AB22-4878-B38F-C19699A8E53E}"/>
              </a:ext>
            </a:extLst>
          </p:cNvPr>
          <p:cNvSpPr/>
          <p:nvPr/>
        </p:nvSpPr>
        <p:spPr>
          <a:xfrm>
            <a:off x="9547147" y="2371513"/>
            <a:ext cx="2064750" cy="1678863"/>
          </a:xfrm>
          <a:prstGeom prst="roundRect">
            <a:avLst>
              <a:gd name="adj" fmla="val 4764"/>
            </a:avLst>
          </a:prstGeom>
          <a:solidFill>
            <a:schemeClr val="bg1"/>
          </a:solidFill>
          <a:ln w="1270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a:solidFill>
                  <a:schemeClr val="tx1"/>
                </a:solidFill>
                <a:ea typeface="+mn-lt"/>
                <a:cs typeface="+mn-lt"/>
              </a:rPr>
              <a:t>The profit is shows $373610 when the position if the bid is in top 4</a:t>
            </a:r>
            <a:endParaRPr lang="en-US">
              <a:solidFill>
                <a:schemeClr val="tx1"/>
              </a:solidFill>
            </a:endParaRPr>
          </a:p>
        </p:txBody>
      </p:sp>
      <p:sp>
        <p:nvSpPr>
          <p:cNvPr id="65" name="角丸四角形 60">
            <a:extLst>
              <a:ext uri="{FF2B5EF4-FFF2-40B4-BE49-F238E27FC236}">
                <a16:creationId xmlns:a16="http://schemas.microsoft.com/office/drawing/2014/main" id="{A0B58970-B4EA-4800-8A11-D04F14F78602}"/>
              </a:ext>
            </a:extLst>
          </p:cNvPr>
          <p:cNvSpPr/>
          <p:nvPr/>
        </p:nvSpPr>
        <p:spPr>
          <a:xfrm>
            <a:off x="7305061" y="4249990"/>
            <a:ext cx="4304568" cy="1678863"/>
          </a:xfrm>
          <a:prstGeom prst="roundRect">
            <a:avLst>
              <a:gd name="adj" fmla="val 4764"/>
            </a:avLst>
          </a:prstGeom>
          <a:solidFill>
            <a:schemeClr val="bg1"/>
          </a:solidFill>
          <a:ln w="1270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600">
                <a:solidFill>
                  <a:schemeClr val="tx1"/>
                </a:solidFill>
                <a:ea typeface="游ゴシック"/>
              </a:rPr>
              <a:t>The number of bid straegety increase the profit. Targeting the top position in the bid gives us increase in revenue.</a:t>
            </a:r>
          </a:p>
        </p:txBody>
      </p:sp>
      <p:pic>
        <p:nvPicPr>
          <p:cNvPr id="32" name="Picture 31">
            <a:extLst>
              <a:ext uri="{FF2B5EF4-FFF2-40B4-BE49-F238E27FC236}">
                <a16:creationId xmlns:a16="http://schemas.microsoft.com/office/drawing/2014/main" id="{EC234204-5BDA-45D1-8EB0-09B97C761877}"/>
              </a:ext>
            </a:extLst>
          </p:cNvPr>
          <p:cNvPicPr>
            <a:picLocks noChangeAspect="1"/>
          </p:cNvPicPr>
          <p:nvPr/>
        </p:nvPicPr>
        <p:blipFill>
          <a:blip r:embed="rId7"/>
          <a:stretch>
            <a:fillRect/>
          </a:stretch>
        </p:blipFill>
        <p:spPr>
          <a:xfrm>
            <a:off x="10488288" y="16276"/>
            <a:ext cx="1703712" cy="958338"/>
          </a:xfrm>
          <a:prstGeom prst="rect">
            <a:avLst/>
          </a:prstGeom>
        </p:spPr>
      </p:pic>
      <p:sp>
        <p:nvSpPr>
          <p:cNvPr id="6" name="TextBox 5">
            <a:extLst>
              <a:ext uri="{FF2B5EF4-FFF2-40B4-BE49-F238E27FC236}">
                <a16:creationId xmlns:a16="http://schemas.microsoft.com/office/drawing/2014/main" id="{8F81AF75-A47D-4A73-8306-B90DF07D1C19}"/>
              </a:ext>
            </a:extLst>
          </p:cNvPr>
          <p:cNvSpPr txBox="1"/>
          <p:nvPr/>
        </p:nvSpPr>
        <p:spPr>
          <a:xfrm>
            <a:off x="314325" y="6476599"/>
            <a:ext cx="4248150" cy="369332"/>
          </a:xfrm>
          <a:prstGeom prst="rect">
            <a:avLst/>
          </a:prstGeom>
          <a:solidFill>
            <a:srgbClr val="FFFFFF"/>
          </a:solidFill>
        </p:spPr>
        <p:txBody>
          <a:bodyPr wrap="square" rtlCol="0">
            <a:spAutoFit/>
          </a:bodyPr>
          <a:lstStyle/>
          <a:p>
            <a:endParaRPr kumimoji="1" lang="en-US">
              <a:solidFill>
                <a:srgbClr val="000000"/>
              </a:solidFill>
            </a:endParaRPr>
          </a:p>
        </p:txBody>
      </p:sp>
      <p:pic>
        <p:nvPicPr>
          <p:cNvPr id="9" name="Picture 9" descr="Chart, waterfall chart&#10;&#10;Description automatically generated">
            <a:extLst>
              <a:ext uri="{FF2B5EF4-FFF2-40B4-BE49-F238E27FC236}">
                <a16:creationId xmlns:a16="http://schemas.microsoft.com/office/drawing/2014/main" id="{E89A3B33-A4DD-4AD0-B93C-102630E88A1E}"/>
              </a:ext>
            </a:extLst>
          </p:cNvPr>
          <p:cNvPicPr>
            <a:picLocks noChangeAspect="1"/>
          </p:cNvPicPr>
          <p:nvPr/>
        </p:nvPicPr>
        <p:blipFill>
          <a:blip r:embed="rId8"/>
          <a:stretch>
            <a:fillRect/>
          </a:stretch>
        </p:blipFill>
        <p:spPr>
          <a:xfrm>
            <a:off x="579582" y="2032632"/>
            <a:ext cx="6253017" cy="4074280"/>
          </a:xfrm>
          <a:prstGeom prst="rect">
            <a:avLst/>
          </a:prstGeom>
        </p:spPr>
      </p:pic>
    </p:spTree>
    <p:extLst>
      <p:ext uri="{BB962C8B-B14F-4D97-AF65-F5344CB8AC3E}">
        <p14:creationId xmlns:p14="http://schemas.microsoft.com/office/powerpoint/2010/main" val="1233791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オブジェクト 51" hidden="1">
            <a:extLst>
              <a:ext uri="{FF2B5EF4-FFF2-40B4-BE49-F238E27FC236}">
                <a16:creationId xmlns:a16="http://schemas.microsoft.com/office/drawing/2014/main" id="{8605731E-ADAE-4845-B30F-615307EA1CDB}"/>
              </a:ext>
            </a:extLst>
          </p:cNvPr>
          <p:cNvGraphicFramePr>
            <a:graphicFrameLocks noChangeAspect="1"/>
          </p:cNvGraphicFramePr>
          <p:nvPr>
            <p:custDataLst>
              <p:tags r:id="rId2"/>
            </p:custDataLst>
            <p:extLst>
              <p:ext uri="{D42A27DB-BD31-4B8C-83A1-F6EECF244321}">
                <p14:modId xmlns:p14="http://schemas.microsoft.com/office/powerpoint/2010/main" val="1719038995"/>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347" imgH="348" progId="TCLayout.ActiveDocument.1">
                  <p:embed/>
                </p:oleObj>
              </mc:Choice>
              <mc:Fallback>
                <p:oleObj name="think-cell Slide" r:id="rId6" imgW="347" imgH="348" progId="TCLayout.ActiveDocument.1">
                  <p:embed/>
                  <p:pic>
                    <p:nvPicPr>
                      <p:cNvPr id="52" name="オブジェクト 51" hidden="1">
                        <a:extLst>
                          <a:ext uri="{FF2B5EF4-FFF2-40B4-BE49-F238E27FC236}">
                            <a16:creationId xmlns:a16="http://schemas.microsoft.com/office/drawing/2014/main" id="{8605731E-ADAE-4845-B30F-615307EA1CDB}"/>
                          </a:ext>
                        </a:extLst>
                      </p:cNvPr>
                      <p:cNvPicPr/>
                      <p:nvPr/>
                    </p:nvPicPr>
                    <p:blipFill>
                      <a:blip r:embed="rId7"/>
                      <a:stretch>
                        <a:fillRect/>
                      </a:stretch>
                    </p:blipFill>
                    <p:spPr>
                      <a:xfrm>
                        <a:off x="3176"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778DD5DA-63DF-43C3-A0EC-457FB5CD41FB}"/>
              </a:ext>
            </a:extLst>
          </p:cNvPr>
          <p:cNvSpPr/>
          <p:nvPr>
            <p:custDataLst>
              <p:tags r:id="rId3"/>
            </p:custDataLst>
          </p:nvPr>
        </p:nvSpPr>
        <p:spPr>
          <a:xfrm>
            <a:off x="1588" y="0"/>
            <a:ext cx="158750" cy="158750"/>
          </a:xfrm>
          <a:prstGeom prst="rect">
            <a:avLst/>
          </a:prstGeom>
          <a:solidFill>
            <a:schemeClr val="bg2">
              <a:lumMod val="75000"/>
            </a:schemeClr>
          </a:solidFill>
          <a:ln>
            <a:no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ja-JP" altLang="en-US" sz="2000" b="1">
              <a:solidFill>
                <a:schemeClr val="bg1"/>
              </a:solidFill>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sp>
        <p:nvSpPr>
          <p:cNvPr id="98" name="タイトル 2">
            <a:extLst>
              <a:ext uri="{FF2B5EF4-FFF2-40B4-BE49-F238E27FC236}">
                <a16:creationId xmlns:a16="http://schemas.microsoft.com/office/drawing/2014/main" id="{DE615B99-7C9C-4DC5-A7A5-CC775BD6985B}"/>
              </a:ext>
            </a:extLst>
          </p:cNvPr>
          <p:cNvSpPr>
            <a:spLocks noGrp="1"/>
          </p:cNvSpPr>
          <p:nvPr>
            <p:ph type="title"/>
          </p:nvPr>
        </p:nvSpPr>
        <p:spPr/>
        <p:txBody>
          <a:bodyPr vert="horz">
            <a:normAutofit/>
          </a:bodyPr>
          <a:lstStyle/>
          <a:p>
            <a:r>
              <a:rPr lang="en-US" altLang="ja-JP"/>
              <a:t>5:Page Title</a:t>
            </a:r>
            <a:endParaRPr kumimoji="1" lang="ja-JP" altLang="en-US"/>
          </a:p>
        </p:txBody>
      </p:sp>
      <p:sp>
        <p:nvSpPr>
          <p:cNvPr id="25" name="テキスト プレースホルダー 14">
            <a:extLst>
              <a:ext uri="{FF2B5EF4-FFF2-40B4-BE49-F238E27FC236}">
                <a16:creationId xmlns:a16="http://schemas.microsoft.com/office/drawing/2014/main" id="{EF2D1E43-28F5-44EC-BEEE-74A14BEA1A45}"/>
              </a:ext>
            </a:extLst>
          </p:cNvPr>
          <p:cNvSpPr>
            <a:spLocks noGrp="1"/>
          </p:cNvSpPr>
          <p:nvPr>
            <p:ph type="body" sz="quarter" idx="13"/>
          </p:nvPr>
        </p:nvSpPr>
        <p:spPr>
          <a:xfrm>
            <a:off x="508563" y="780422"/>
            <a:ext cx="11159575" cy="419837"/>
          </a:xfrm>
        </p:spPr>
        <p:txBody>
          <a:bodyPr/>
          <a:lstStyle/>
          <a:p>
            <a:r>
              <a:rPr lang="en-US" altLang="ja-JP"/>
              <a:t>Summary of this slide by 1 sentence</a:t>
            </a:r>
          </a:p>
        </p:txBody>
      </p:sp>
      <p:sp>
        <p:nvSpPr>
          <p:cNvPr id="68" name="スライド番号プレースホルダー 4">
            <a:extLst>
              <a:ext uri="{FF2B5EF4-FFF2-40B4-BE49-F238E27FC236}">
                <a16:creationId xmlns:a16="http://schemas.microsoft.com/office/drawing/2014/main" id="{80F0A2A6-CCC0-4699-8645-1C86718C959F}"/>
              </a:ext>
            </a:extLst>
          </p:cNvPr>
          <p:cNvSpPr>
            <a:spLocks noGrp="1"/>
          </p:cNvSpPr>
          <p:nvPr>
            <p:ph type="sldNum" sz="quarter" idx="10"/>
          </p:nvPr>
        </p:nvSpPr>
        <p:spPr/>
        <p:txBody>
          <a:bodyPr/>
          <a:lstStyle/>
          <a:p>
            <a:r>
              <a:rPr lang="en-US" altLang="ja-JP"/>
              <a:t>xx</a:t>
            </a:r>
            <a:endParaRPr lang="ja-JP" altLang="en-US"/>
          </a:p>
        </p:txBody>
      </p:sp>
      <p:sp>
        <p:nvSpPr>
          <p:cNvPr id="113" name="Google Shape;38;p3">
            <a:extLst>
              <a:ext uri="{FF2B5EF4-FFF2-40B4-BE49-F238E27FC236}">
                <a16:creationId xmlns:a16="http://schemas.microsoft.com/office/drawing/2014/main" id="{FF9A60BE-4505-4D78-A3E8-3E825CF2848F}"/>
              </a:ext>
            </a:extLst>
          </p:cNvPr>
          <p:cNvSpPr txBox="1"/>
          <p:nvPr/>
        </p:nvSpPr>
        <p:spPr>
          <a:xfrm>
            <a:off x="2895304" y="1508190"/>
            <a:ext cx="8176800" cy="33542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spcFirstLastPara="1" wrap="square" lIns="72000" tIns="72000" rIns="72000" bIns="72000" anchor="ctr" anchorCtr="0">
            <a:noAutofit/>
          </a:bodyPr>
          <a:lstStyle>
            <a:defPPr>
              <a:defRPr lang="ja-JP"/>
            </a:defPPr>
            <a:lvl1pPr algn="ctr">
              <a:buClr>
                <a:srgbClr val="000000"/>
              </a:buClr>
              <a:buSzPts val="2000"/>
              <a:defRPr b="1">
                <a:solidFill>
                  <a:schemeClr val="tx2"/>
                </a:solidFill>
                <a:latin typeface="+mj-ea"/>
                <a:ea typeface="+mj-ea"/>
                <a:cs typeface="Calibri"/>
              </a:defRPr>
            </a:lvl1pPr>
          </a:lstStyle>
          <a:p>
            <a:r>
              <a:rPr lang="en-US" altLang="ja-JP" sz="1600" b="0">
                <a:solidFill>
                  <a:schemeClr val="accent1"/>
                </a:solidFill>
                <a:latin typeface="Meiryo UI" panose="020B0604030504040204" pitchFamily="50" charset="-128"/>
                <a:ea typeface="Meiryo UI" panose="020B0604030504040204" pitchFamily="50" charset="-128"/>
                <a:sym typeface="Calibri"/>
              </a:rPr>
              <a:t>Recommendations</a:t>
            </a:r>
            <a:endParaRPr lang="ja-JP" altLang="en-US" sz="1600" b="0">
              <a:solidFill>
                <a:schemeClr val="accent1"/>
              </a:solidFill>
              <a:latin typeface="Meiryo UI" panose="020B0604030504040204" pitchFamily="50" charset="-128"/>
              <a:ea typeface="Meiryo UI" panose="020B0604030504040204" pitchFamily="50" charset="-128"/>
              <a:sym typeface="Calibri"/>
            </a:endParaRPr>
          </a:p>
        </p:txBody>
      </p:sp>
      <p:sp>
        <p:nvSpPr>
          <p:cNvPr id="115" name="Google Shape;264;p15">
            <a:extLst>
              <a:ext uri="{FF2B5EF4-FFF2-40B4-BE49-F238E27FC236}">
                <a16:creationId xmlns:a16="http://schemas.microsoft.com/office/drawing/2014/main" id="{5C97DFB9-67DA-41F9-9F89-483D41D1C2FE}"/>
              </a:ext>
            </a:extLst>
          </p:cNvPr>
          <p:cNvSpPr txBox="1"/>
          <p:nvPr/>
        </p:nvSpPr>
        <p:spPr>
          <a:xfrm>
            <a:off x="2695279" y="2088291"/>
            <a:ext cx="8376825" cy="1182504"/>
          </a:xfrm>
          <a:prstGeom prst="rect">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square" lIns="72000" tIns="72000" rIns="72000" bIns="72000" anchor="t" anchorCtr="0">
            <a:noAutofit/>
          </a:bodyPr>
          <a:lstStyle/>
          <a:p>
            <a:pPr marL="0" lvl="1">
              <a:lnSpc>
                <a:spcPct val="110000"/>
              </a:lnSpc>
            </a:pPr>
            <a:r>
              <a:rPr lang="ja-JP" altLang="en-US" sz="1400">
                <a:solidFill>
                  <a:srgbClr val="4D4D4D"/>
                </a:solidFill>
                <a:latin typeface="Meiryo UI"/>
                <a:ea typeface="Meiryo UI"/>
              </a:rPr>
              <a:t>We ran an analysis focusing on search engines regarding their performance based on bookings produced and their specific conversion rate </a:t>
            </a:r>
            <a:endParaRPr lang="en-US"/>
          </a:p>
          <a:p>
            <a:pPr marL="264795" lvl="1" indent="-175895">
              <a:lnSpc>
                <a:spcPct val="110000"/>
              </a:lnSpc>
              <a:buClr>
                <a:schemeClr val="tx2">
                  <a:lumMod val="60000"/>
                  <a:lumOff val="40000"/>
                </a:schemeClr>
              </a:buClr>
              <a:buSzPct val="110000"/>
              <a:buFont typeface="Arial" panose="020B0604020202020204" pitchFamily="34" charset="0"/>
              <a:buChar char="•"/>
            </a:pPr>
            <a:r>
              <a:rPr lang="ja-JP" altLang="en-US" sz="1050">
                <a:solidFill>
                  <a:srgbClr val="808080"/>
                </a:solidFill>
                <a:latin typeface="Meiryo UI"/>
                <a:ea typeface="Meiryo UI"/>
              </a:rPr>
              <a:t>if the goal of the company is to reach more easily the global market we would suggest to opt for Google as it is the one with more access to the masses </a:t>
            </a:r>
            <a:endParaRPr lang="ja-JP" altLang="en-US" sz="1050">
              <a:solidFill>
                <a:srgbClr val="808080"/>
              </a:solidFill>
              <a:latin typeface="Meiryo UI" panose="020B0604030504040204" pitchFamily="50" charset="-128"/>
              <a:ea typeface="Meiryo UI" panose="020B0604030504040204" pitchFamily="50" charset="-128"/>
            </a:endParaRPr>
          </a:p>
          <a:p>
            <a:pPr marL="264795" lvl="1" indent="-175895">
              <a:lnSpc>
                <a:spcPct val="110000"/>
              </a:lnSpc>
              <a:buClr>
                <a:srgbClr val="8497B0"/>
              </a:buClr>
              <a:buSzPct val="110000"/>
              <a:buFont typeface="Arial" panose="020B0604020202020204" pitchFamily="34" charset="0"/>
              <a:buChar char="•"/>
            </a:pPr>
            <a:r>
              <a:rPr lang="ja-JP" altLang="en-US" sz="1050">
                <a:solidFill>
                  <a:srgbClr val="808080"/>
                </a:solidFill>
                <a:latin typeface="Meiryo UI"/>
                <a:ea typeface="Meiryo UI"/>
                <a:sym typeface="Meiryo UI" panose="020B0604030504040204" pitchFamily="50" charset="-128"/>
              </a:rPr>
              <a:t>Instead if  the company is concerned about search engine performance we recommend to go for yahoo instead of google </a:t>
            </a:r>
            <a:endParaRPr lang="ja-JP"/>
          </a:p>
        </p:txBody>
      </p:sp>
      <p:sp>
        <p:nvSpPr>
          <p:cNvPr id="116" name="Google Shape;264;p15">
            <a:extLst>
              <a:ext uri="{FF2B5EF4-FFF2-40B4-BE49-F238E27FC236}">
                <a16:creationId xmlns:a16="http://schemas.microsoft.com/office/drawing/2014/main" id="{E269F599-F015-4DC8-86E4-0F1FEA3B1BE3}"/>
              </a:ext>
            </a:extLst>
          </p:cNvPr>
          <p:cNvSpPr txBox="1"/>
          <p:nvPr/>
        </p:nvSpPr>
        <p:spPr>
          <a:xfrm>
            <a:off x="2695279" y="4895074"/>
            <a:ext cx="8376825" cy="1182504"/>
          </a:xfrm>
          <a:prstGeom prst="rect">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square" lIns="72000" tIns="72000" rIns="72000" bIns="72000" anchor="t" anchorCtr="0">
            <a:noAutofit/>
          </a:bodyPr>
          <a:lstStyle/>
          <a:p>
            <a:pPr marL="0" lvl="1">
              <a:lnSpc>
                <a:spcPct val="110000"/>
              </a:lnSpc>
            </a:pPr>
            <a:r>
              <a:rPr lang="ja-JP" altLang="en-US" sz="1400">
                <a:solidFill>
                  <a:srgbClr val="4D4D4D"/>
                </a:solidFill>
                <a:latin typeface="Meiryo UI"/>
                <a:ea typeface="Meiryo UI"/>
              </a:rPr>
              <a:t>We choose to analyze the bid strategy and understand wich one of them will produce the best outcome for the company </a:t>
            </a:r>
          </a:p>
          <a:p>
            <a:pPr marL="264795" lvl="1" indent="-175895">
              <a:lnSpc>
                <a:spcPct val="110000"/>
              </a:lnSpc>
              <a:buClr>
                <a:srgbClr val="8497B0"/>
              </a:buClr>
              <a:buSzPct val="110000"/>
              <a:buFont typeface="Arial" panose="020B0604020202020204" pitchFamily="34" charset="0"/>
              <a:buChar char="•"/>
            </a:pPr>
            <a:r>
              <a:rPr lang="ja-JP" altLang="en-US" sz="1050">
                <a:solidFill>
                  <a:srgbClr val="808080"/>
                </a:solidFill>
                <a:latin typeface="Meiryo UI"/>
                <a:ea typeface="Meiryo UI"/>
              </a:rPr>
              <a:t>From the outcome of the analysys it is clear that when the bid strategy includes the 5th onwards position the profit margin are going to shrink a lot</a:t>
            </a:r>
          </a:p>
          <a:p>
            <a:pPr marL="264795" lvl="1" indent="-175895">
              <a:lnSpc>
                <a:spcPct val="110000"/>
              </a:lnSpc>
              <a:buClr>
                <a:srgbClr val="8497B0"/>
              </a:buClr>
              <a:buSzPct val="110000"/>
              <a:buFont typeface="Arial" panose="020B0604020202020204" pitchFamily="34" charset="0"/>
              <a:buChar char="•"/>
            </a:pPr>
            <a:r>
              <a:rPr lang="ja-JP" altLang="en-US" sz="1050">
                <a:solidFill>
                  <a:srgbClr val="808080"/>
                </a:solidFill>
                <a:latin typeface="Meiryo UI"/>
                <a:ea typeface="Meiryo UI"/>
                <a:sym typeface="Meiryo UI" panose="020B0604030504040204" pitchFamily="50" charset="-128"/>
              </a:rPr>
              <a:t>The best option is either implement a bid strategy for the first 4 position or buy one of the first three position directly </a:t>
            </a:r>
            <a:endParaRPr lang="ja-JP" altLang="en-US" sz="1050">
              <a:solidFill>
                <a:srgbClr val="808080"/>
              </a:solidFill>
              <a:latin typeface="Meiryo UI" panose="020B0604030504040204" pitchFamily="50" charset="-128"/>
              <a:ea typeface="Meiryo UI" panose="020B0604030504040204" pitchFamily="50" charset="-128"/>
            </a:endParaRPr>
          </a:p>
        </p:txBody>
      </p:sp>
      <p:sp>
        <p:nvSpPr>
          <p:cNvPr id="117" name="Google Shape;264;p15">
            <a:extLst>
              <a:ext uri="{FF2B5EF4-FFF2-40B4-BE49-F238E27FC236}">
                <a16:creationId xmlns:a16="http://schemas.microsoft.com/office/drawing/2014/main" id="{DA0A211C-53D6-41CD-ADFE-87F5006DD305}"/>
              </a:ext>
            </a:extLst>
          </p:cNvPr>
          <p:cNvSpPr txBox="1"/>
          <p:nvPr/>
        </p:nvSpPr>
        <p:spPr>
          <a:xfrm>
            <a:off x="2695279" y="3491682"/>
            <a:ext cx="8376825" cy="1182504"/>
          </a:xfrm>
          <a:prstGeom prst="rect">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square" lIns="72000" tIns="72000" rIns="72000" bIns="72000" anchor="t" anchorCtr="0">
            <a:noAutofit/>
          </a:bodyPr>
          <a:lstStyle/>
          <a:p>
            <a:pPr marL="0" lvl="1">
              <a:lnSpc>
                <a:spcPct val="110000"/>
              </a:lnSpc>
              <a:buClr>
                <a:schemeClr val="tx1">
                  <a:lumMod val="65000"/>
                  <a:lumOff val="35000"/>
                </a:schemeClr>
              </a:buClr>
              <a:buSzPct val="80000"/>
            </a:pPr>
            <a:r>
              <a:rPr lang="ja-JP" altLang="en-US" sz="1400">
                <a:solidFill>
                  <a:srgbClr val="4D4D4D"/>
                </a:solidFill>
                <a:latin typeface="Meiryo UI"/>
                <a:ea typeface="Meiryo UI"/>
              </a:rPr>
              <a:t>We analyzed the campaigns in order to understad wich one of them is worth considering for AIRFRANCE</a:t>
            </a:r>
            <a:endParaRPr lang="ja-JP" altLang="en-US" sz="1400">
              <a:solidFill>
                <a:srgbClr val="4D4D4D"/>
              </a:solidFill>
              <a:latin typeface="Meiryo UI" panose="020B0604030504040204" pitchFamily="50" charset="-128"/>
              <a:ea typeface="Meiryo UI" panose="020B0604030504040204" pitchFamily="50" charset="-128"/>
            </a:endParaRPr>
          </a:p>
          <a:p>
            <a:pPr marL="264795" lvl="1" indent="-175895">
              <a:lnSpc>
                <a:spcPct val="110000"/>
              </a:lnSpc>
              <a:buClr>
                <a:schemeClr val="tx2">
                  <a:lumMod val="60000"/>
                  <a:lumOff val="40000"/>
                </a:schemeClr>
              </a:buClr>
              <a:buSzPct val="110000"/>
              <a:buFont typeface="Arial" panose="020B0604020202020204" pitchFamily="34" charset="0"/>
              <a:buChar char="•"/>
            </a:pPr>
            <a:r>
              <a:rPr lang="ja-JP" altLang="en-US" sz="900">
                <a:solidFill>
                  <a:srgbClr val="808080"/>
                </a:solidFill>
                <a:latin typeface="Meiryo UI"/>
                <a:ea typeface="Meiryo UI"/>
              </a:rPr>
              <a:t>By analyzing the top and bottom three it is clear that ther is a specific strategy generates a much greater loss compared to the others and is the business class strategy so wichever search engine the company chooses we recommend to avoid businessclass campaigns </a:t>
            </a:r>
            <a:endParaRPr lang="ja-JP" altLang="en-US" sz="900">
              <a:solidFill>
                <a:srgbClr val="808080"/>
              </a:solidFill>
              <a:latin typeface="Meiryo UI" panose="020B0604030504040204" pitchFamily="50" charset="-128"/>
              <a:ea typeface="Meiryo UI" panose="020B0604030504040204" pitchFamily="50" charset="-128"/>
            </a:endParaRPr>
          </a:p>
          <a:p>
            <a:pPr marL="264795" lvl="1" indent="-175895">
              <a:lnSpc>
                <a:spcPct val="110000"/>
              </a:lnSpc>
              <a:buClr>
                <a:schemeClr val="tx2">
                  <a:lumMod val="60000"/>
                  <a:lumOff val="40000"/>
                </a:schemeClr>
              </a:buClr>
              <a:buSzPct val="110000"/>
              <a:buFont typeface="Arial" panose="020B0604020202020204" pitchFamily="34" charset="0"/>
              <a:buChar char="•"/>
            </a:pPr>
            <a:r>
              <a:rPr lang="ja-JP" altLang="en-US" sz="1050">
                <a:solidFill>
                  <a:srgbClr val="808080"/>
                </a:solidFill>
                <a:latin typeface="Meiryo UI"/>
                <a:ea typeface="Meiryo UI"/>
                <a:sym typeface="Meiryo UI" panose="020B0604030504040204" pitchFamily="50" charset="-128"/>
              </a:rPr>
              <a:t>From the top three campaign we see air france branded to be the highest profit margin of all the campaign that is correlated either to yahoo or Google </a:t>
            </a:r>
            <a:endParaRPr lang="ja-JP" altLang="en-US" sz="1050">
              <a:solidFill>
                <a:srgbClr val="808080"/>
              </a:solidFill>
              <a:latin typeface="Meiryo UI" panose="020B0604030504040204" pitchFamily="50" charset="-128"/>
              <a:ea typeface="Meiryo UI" panose="020B0604030504040204" pitchFamily="50" charset="-128"/>
            </a:endParaRPr>
          </a:p>
        </p:txBody>
      </p:sp>
      <p:cxnSp>
        <p:nvCxnSpPr>
          <p:cNvPr id="126" name="Google Shape;153;p18">
            <a:extLst>
              <a:ext uri="{FF2B5EF4-FFF2-40B4-BE49-F238E27FC236}">
                <a16:creationId xmlns:a16="http://schemas.microsoft.com/office/drawing/2014/main" id="{B9785018-D20B-4558-937E-AF2A1BDAB3A9}"/>
              </a:ext>
            </a:extLst>
          </p:cNvPr>
          <p:cNvCxnSpPr>
            <a:cxnSpLocks/>
          </p:cNvCxnSpPr>
          <p:nvPr/>
        </p:nvCxnSpPr>
        <p:spPr>
          <a:xfrm flipH="1">
            <a:off x="1117512" y="3381239"/>
            <a:ext cx="9954592" cy="0"/>
          </a:xfrm>
          <a:prstGeom prst="straightConnector1">
            <a:avLst/>
          </a:prstGeom>
          <a:solidFill>
            <a:srgbClr val="FFFFFF"/>
          </a:solidFill>
          <a:ln w="9525" cap="flat" cmpd="sng" algn="ctr">
            <a:solidFill>
              <a:srgbClr val="BFBFBF"/>
            </a:solidFill>
            <a:prstDash val="dash"/>
            <a:miter lim="800000"/>
            <a:headEnd type="none" w="sm" len="sm"/>
            <a:tailEnd type="none" w="sm" len="sm"/>
          </a:ln>
        </p:spPr>
      </p:cxnSp>
      <p:cxnSp>
        <p:nvCxnSpPr>
          <p:cNvPr id="127" name="Google Shape;153;p18">
            <a:extLst>
              <a:ext uri="{FF2B5EF4-FFF2-40B4-BE49-F238E27FC236}">
                <a16:creationId xmlns:a16="http://schemas.microsoft.com/office/drawing/2014/main" id="{A2F5D8A0-C677-4959-B85F-D03B4319E896}"/>
              </a:ext>
            </a:extLst>
          </p:cNvPr>
          <p:cNvCxnSpPr>
            <a:cxnSpLocks/>
          </p:cNvCxnSpPr>
          <p:nvPr/>
        </p:nvCxnSpPr>
        <p:spPr>
          <a:xfrm flipH="1">
            <a:off x="1117512" y="4784631"/>
            <a:ext cx="9954592" cy="0"/>
          </a:xfrm>
          <a:prstGeom prst="straightConnector1">
            <a:avLst/>
          </a:prstGeom>
          <a:solidFill>
            <a:srgbClr val="FFFFFF"/>
          </a:solidFill>
          <a:ln w="9525" cap="flat" cmpd="sng" algn="ctr">
            <a:solidFill>
              <a:srgbClr val="BFBFBF"/>
            </a:solidFill>
            <a:prstDash val="dash"/>
            <a:miter lim="800000"/>
            <a:headEnd type="none" w="sm" len="sm"/>
            <a:tailEnd type="none" w="sm" len="sm"/>
          </a:ln>
        </p:spPr>
      </p:cxnSp>
      <p:sp>
        <p:nvSpPr>
          <p:cNvPr id="48" name="正方形/長方形 47">
            <a:extLst>
              <a:ext uri="{FF2B5EF4-FFF2-40B4-BE49-F238E27FC236}">
                <a16:creationId xmlns:a16="http://schemas.microsoft.com/office/drawing/2014/main" id="{ECB3951E-4EE3-43D7-A0FF-11A4FDD670D4}"/>
              </a:ext>
            </a:extLst>
          </p:cNvPr>
          <p:cNvSpPr/>
          <p:nvPr/>
        </p:nvSpPr>
        <p:spPr>
          <a:xfrm>
            <a:off x="1117511" y="2088291"/>
            <a:ext cx="1444711" cy="3989287"/>
          </a:xfrm>
          <a:prstGeom prst="rect">
            <a:avLst/>
          </a:prstGeom>
          <a:solidFill>
            <a:schemeClr val="accent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Google Shape;264;p15">
            <a:extLst>
              <a:ext uri="{FF2B5EF4-FFF2-40B4-BE49-F238E27FC236}">
                <a16:creationId xmlns:a16="http://schemas.microsoft.com/office/drawing/2014/main" id="{992002D5-E9D1-4F4F-9C17-6C3E890A9B1A}"/>
              </a:ext>
            </a:extLst>
          </p:cNvPr>
          <p:cNvSpPr txBox="1"/>
          <p:nvPr/>
        </p:nvSpPr>
        <p:spPr>
          <a:xfrm>
            <a:off x="1117511" y="2088291"/>
            <a:ext cx="1444711" cy="1182504"/>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none" lIns="72000" tIns="72000" rIns="72000" bIns="72000" anchor="t" anchorCtr="0">
            <a:noAutofit/>
          </a:bodyPr>
          <a:lstStyle/>
          <a:p>
            <a:pPr marL="12696">
              <a:buClr>
                <a:srgbClr val="000000"/>
              </a:buClr>
              <a:buSzPts val="1450"/>
            </a:pPr>
            <a:r>
              <a:rPr lang="en-US" altLang="ja-JP" sz="1400">
                <a:solidFill>
                  <a:schemeClr val="accent1"/>
                </a:solidFill>
                <a:latin typeface="Meiryo UI" panose="020B0604030504040204" pitchFamily="50" charset="-128"/>
                <a:ea typeface="Meiryo UI" panose="020B0604030504040204" pitchFamily="50" charset="-128"/>
                <a:cs typeface="Verdana"/>
                <a:sym typeface="Arial"/>
              </a:rPr>
              <a:t>Search Engines</a:t>
            </a:r>
          </a:p>
        </p:txBody>
      </p:sp>
      <p:sp>
        <p:nvSpPr>
          <p:cNvPr id="124" name="Google Shape;264;p15">
            <a:extLst>
              <a:ext uri="{FF2B5EF4-FFF2-40B4-BE49-F238E27FC236}">
                <a16:creationId xmlns:a16="http://schemas.microsoft.com/office/drawing/2014/main" id="{3BA8D3FF-035C-4D92-A2D7-64AFB99FB156}"/>
              </a:ext>
            </a:extLst>
          </p:cNvPr>
          <p:cNvSpPr txBox="1"/>
          <p:nvPr/>
        </p:nvSpPr>
        <p:spPr>
          <a:xfrm>
            <a:off x="1117511" y="3491683"/>
            <a:ext cx="1444711" cy="1182504"/>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none" lIns="72000" tIns="72000" rIns="72000" bIns="72000" anchor="t" anchorCtr="0">
            <a:noAutofit/>
          </a:bodyPr>
          <a:lstStyle/>
          <a:p>
            <a:pPr marL="12696">
              <a:buClr>
                <a:srgbClr val="000000"/>
              </a:buClr>
              <a:buSzPts val="1450"/>
            </a:pPr>
            <a:r>
              <a:rPr lang="en-US" altLang="ja-JP" sz="1400">
                <a:solidFill>
                  <a:schemeClr val="accent1"/>
                </a:solidFill>
                <a:latin typeface="Meiryo UI" panose="020B0604030504040204" pitchFamily="50" charset="-128"/>
                <a:ea typeface="Meiryo UI" panose="020B0604030504040204" pitchFamily="50" charset="-128"/>
                <a:cs typeface="Verdana"/>
                <a:sym typeface="Arial"/>
              </a:rPr>
              <a:t>Campaigns</a:t>
            </a:r>
          </a:p>
        </p:txBody>
      </p:sp>
      <p:sp>
        <p:nvSpPr>
          <p:cNvPr id="125" name="Google Shape;264;p15">
            <a:extLst>
              <a:ext uri="{FF2B5EF4-FFF2-40B4-BE49-F238E27FC236}">
                <a16:creationId xmlns:a16="http://schemas.microsoft.com/office/drawing/2014/main" id="{C933D178-3B7E-4D54-9B16-46CA7C66FEF3}"/>
              </a:ext>
            </a:extLst>
          </p:cNvPr>
          <p:cNvSpPr txBox="1"/>
          <p:nvPr/>
        </p:nvSpPr>
        <p:spPr>
          <a:xfrm>
            <a:off x="1117511" y="4895074"/>
            <a:ext cx="1444711" cy="1182504"/>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9525" cap="flat" cmpd="sng" algn="ctr">
                <a:solidFill>
                  <a:srgbClr val="4D4D4D"/>
                </a:solidFill>
                <a:prstDash val="solid"/>
                <a:round/>
                <a:headEnd type="none" w="med" len="med"/>
                <a:tailEnd type="none" w="med" len="med"/>
              </a14:hiddenLine>
            </a:ext>
          </a:extLst>
        </p:spPr>
        <p:txBody>
          <a:bodyPr spcFirstLastPara="1" wrap="none" lIns="72000" tIns="72000" rIns="72000" bIns="72000" anchor="t" anchorCtr="0">
            <a:noAutofit/>
          </a:bodyPr>
          <a:lstStyle/>
          <a:p>
            <a:pPr marL="12696">
              <a:buClr>
                <a:srgbClr val="000000"/>
              </a:buClr>
              <a:buSzPts val="1450"/>
            </a:pPr>
            <a:r>
              <a:rPr lang="en-US" altLang="ja-JP" sz="1400">
                <a:solidFill>
                  <a:schemeClr val="accent1"/>
                </a:solidFill>
                <a:latin typeface="Meiryo UI" panose="020B0604030504040204" pitchFamily="50" charset="-128"/>
                <a:ea typeface="Meiryo UI" panose="020B0604030504040204" pitchFamily="50" charset="-128"/>
                <a:cs typeface="Verdana"/>
                <a:sym typeface="Arial"/>
              </a:rPr>
              <a:t>Bid Strategy</a:t>
            </a:r>
          </a:p>
        </p:txBody>
      </p:sp>
      <p:cxnSp>
        <p:nvCxnSpPr>
          <p:cNvPr id="44" name="直線コネクタ 43">
            <a:extLst>
              <a:ext uri="{FF2B5EF4-FFF2-40B4-BE49-F238E27FC236}">
                <a16:creationId xmlns:a16="http://schemas.microsoft.com/office/drawing/2014/main" id="{19E42DE7-B3E2-4310-89E4-CFF04C958A64}"/>
              </a:ext>
            </a:extLst>
          </p:cNvPr>
          <p:cNvCxnSpPr>
            <a:cxnSpLocks/>
          </p:cNvCxnSpPr>
          <p:nvPr/>
        </p:nvCxnSpPr>
        <p:spPr>
          <a:xfrm>
            <a:off x="1117511" y="2088291"/>
            <a:ext cx="0" cy="118250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BAD127DA-6BB9-444C-A6A9-9DF260938E63}"/>
              </a:ext>
            </a:extLst>
          </p:cNvPr>
          <p:cNvCxnSpPr>
            <a:cxnSpLocks/>
          </p:cNvCxnSpPr>
          <p:nvPr/>
        </p:nvCxnSpPr>
        <p:spPr>
          <a:xfrm>
            <a:off x="1117511" y="3491683"/>
            <a:ext cx="0" cy="118250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58120E0B-D664-4382-92AA-AC0DE5672B6C}"/>
              </a:ext>
            </a:extLst>
          </p:cNvPr>
          <p:cNvCxnSpPr>
            <a:cxnSpLocks/>
          </p:cNvCxnSpPr>
          <p:nvPr/>
        </p:nvCxnSpPr>
        <p:spPr>
          <a:xfrm>
            <a:off x="1117511" y="4895074"/>
            <a:ext cx="0" cy="118250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Google Shape;264;p15">
            <a:extLst>
              <a:ext uri="{FF2B5EF4-FFF2-40B4-BE49-F238E27FC236}">
                <a16:creationId xmlns:a16="http://schemas.microsoft.com/office/drawing/2014/main" id="{C1CC0F0A-5BAD-4977-9475-0EBE15232AE9}"/>
              </a:ext>
            </a:extLst>
          </p:cNvPr>
          <p:cNvSpPr txBox="1"/>
          <p:nvPr/>
        </p:nvSpPr>
        <p:spPr>
          <a:xfrm>
            <a:off x="520680" y="6109785"/>
            <a:ext cx="3261598" cy="377072"/>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Lst>
        </p:spPr>
        <p:txBody>
          <a:bodyPr spcFirstLastPara="1" wrap="none" lIns="36000" tIns="36000" rIns="0" bIns="0" anchor="b" anchorCtr="0">
            <a:noAutofit/>
          </a:bodyPr>
          <a:lstStyle>
            <a:defPPr>
              <a:defRPr lang="ja-JP"/>
            </a:defPPr>
            <a:lvl1pPr marL="12696">
              <a:buClr>
                <a:srgbClr val="000000"/>
              </a:buClr>
              <a:buSzPts val="1450"/>
              <a:defRPr sz="1050">
                <a:solidFill>
                  <a:srgbClr val="4D4D4D"/>
                </a:solidFill>
                <a:latin typeface="Meiryo UI" panose="020B0604030504040204" pitchFamily="50" charset="-128"/>
                <a:ea typeface="Meiryo UI" panose="020B0604030504040204" pitchFamily="50" charset="-128"/>
                <a:cs typeface="Verdana"/>
              </a:defRPr>
            </a:lvl1pPr>
          </a:lstStyle>
          <a:p>
            <a:pPr marL="12065"/>
            <a:endParaRPr lang="en-US" altLang="ja-JP" dirty="0"/>
          </a:p>
        </p:txBody>
      </p:sp>
      <p:pic>
        <p:nvPicPr>
          <p:cNvPr id="27" name="Picture 26">
            <a:extLst>
              <a:ext uri="{FF2B5EF4-FFF2-40B4-BE49-F238E27FC236}">
                <a16:creationId xmlns:a16="http://schemas.microsoft.com/office/drawing/2014/main" id="{86AFA3C7-D373-4AE7-81CE-908494BF79EE}"/>
              </a:ext>
            </a:extLst>
          </p:cNvPr>
          <p:cNvPicPr>
            <a:picLocks noChangeAspect="1"/>
          </p:cNvPicPr>
          <p:nvPr/>
        </p:nvPicPr>
        <p:blipFill>
          <a:blip r:embed="rId8"/>
          <a:stretch>
            <a:fillRect/>
          </a:stretch>
        </p:blipFill>
        <p:spPr>
          <a:xfrm>
            <a:off x="10709698" y="-6992"/>
            <a:ext cx="1482302" cy="935279"/>
          </a:xfrm>
          <a:prstGeom prst="rect">
            <a:avLst/>
          </a:prstGeom>
        </p:spPr>
      </p:pic>
      <p:sp>
        <p:nvSpPr>
          <p:cNvPr id="28" name="TextBox 27">
            <a:extLst>
              <a:ext uri="{FF2B5EF4-FFF2-40B4-BE49-F238E27FC236}">
                <a16:creationId xmlns:a16="http://schemas.microsoft.com/office/drawing/2014/main" id="{DD3ABB13-70DB-447E-B24B-98F0899EAE3E}"/>
              </a:ext>
            </a:extLst>
          </p:cNvPr>
          <p:cNvSpPr txBox="1"/>
          <p:nvPr/>
        </p:nvSpPr>
        <p:spPr>
          <a:xfrm>
            <a:off x="161925" y="6476599"/>
            <a:ext cx="4248150" cy="369332"/>
          </a:xfrm>
          <a:prstGeom prst="rect">
            <a:avLst/>
          </a:prstGeom>
          <a:solidFill>
            <a:srgbClr val="FFFFFF"/>
          </a:solidFill>
        </p:spPr>
        <p:txBody>
          <a:bodyPr wrap="square" rtlCol="0">
            <a:spAutoFit/>
          </a:bodyPr>
          <a:lstStyle/>
          <a:p>
            <a:endParaRPr kumimoji="1" lang="en-US"/>
          </a:p>
        </p:txBody>
      </p:sp>
    </p:spTree>
    <p:extLst>
      <p:ext uri="{BB962C8B-B14F-4D97-AF65-F5344CB8AC3E}">
        <p14:creationId xmlns:p14="http://schemas.microsoft.com/office/powerpoint/2010/main" val="2727697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CMiNv4jW5MFDFhfAChnTQ"/>
</p:tagLst>
</file>

<file path=ppt/tags/tag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NumberBall"/>
  <p:tag name="EE4P_SMART_ELEMENT_XML" val="&lt;smartelement id=&quot;NumberBall&quot; shape=&quot;Oval&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dWLegrg4cQZaXB1n55B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609784F11E4364FBC2C8E1A01F0E840" ma:contentTypeVersion="4" ma:contentTypeDescription="Create a new document." ma:contentTypeScope="" ma:versionID="6c55bce2fca100e1789d449447f06bad">
  <xsd:schema xmlns:xsd="http://www.w3.org/2001/XMLSchema" xmlns:xs="http://www.w3.org/2001/XMLSchema" xmlns:p="http://schemas.microsoft.com/office/2006/metadata/properties" xmlns:ns2="67a0bca4-8423-434c-8870-31f88f78e288" targetNamespace="http://schemas.microsoft.com/office/2006/metadata/properties" ma:root="true" ma:fieldsID="d1e7e7a090ed4309cff87f907bbcb071" ns2:_="">
    <xsd:import namespace="67a0bca4-8423-434c-8870-31f88f78e28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a0bca4-8423-434c-8870-31f88f78e2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DF2013-BDAC-4BF5-A3BE-641265DA5A1B}">
  <ds:schemaRefs>
    <ds:schemaRef ds:uri="http://schemas.microsoft.com/sharepoint/v3/contenttype/forms"/>
  </ds:schemaRefs>
</ds:datastoreItem>
</file>

<file path=customXml/itemProps2.xml><?xml version="1.0" encoding="utf-8"?>
<ds:datastoreItem xmlns:ds="http://schemas.openxmlformats.org/officeDocument/2006/customXml" ds:itemID="{CADA895F-89BC-424F-AD44-5329BDC5F746}">
  <ds:schemaRefs>
    <ds:schemaRef ds:uri="67a0bca4-8423-434c-8870-31f88f78e2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F1B7F2B-E167-42E1-9DC6-0FE4E6FA2E5F}">
  <ds:schemaRefs>
    <ds:schemaRef ds:uri="67a0bca4-8423-434c-8870-31f88f78e2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7</Slides>
  <Notes>5</Notes>
  <HiddenSlides>0</HiddenSlides>
  <ScaleCrop>false</ScaleCrop>
  <HeadingPairs>
    <vt:vector size="4" baseType="variant">
      <vt:variant>
        <vt:lpstr>Tema</vt:lpstr>
      </vt:variant>
      <vt:variant>
        <vt:i4>1</vt:i4>
      </vt:variant>
      <vt:variant>
        <vt:lpstr>Titoli diapositive</vt:lpstr>
      </vt:variant>
      <vt:variant>
        <vt:i4>7</vt:i4>
      </vt:variant>
    </vt:vector>
  </HeadingPairs>
  <TitlesOfParts>
    <vt:vector size="8" baseType="lpstr">
      <vt:lpstr>Office テーマ</vt:lpstr>
      <vt:lpstr>Presentazione standard di PowerPoint</vt:lpstr>
      <vt:lpstr>Presentazione standard di PowerPoint</vt:lpstr>
      <vt:lpstr>1: Backgrounds &amp; Objectives</vt:lpstr>
      <vt:lpstr>3: Publisher Insights</vt:lpstr>
      <vt:lpstr>4: Search Engines Insights</vt:lpstr>
      <vt:lpstr>5:Bid Strategy Insights</vt:lpstr>
      <vt:lpstr>5:Page Tit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Komori Takahito</dc:creator>
  <cp:revision>3</cp:revision>
  <dcterms:created xsi:type="dcterms:W3CDTF">2021-11-06T06:55:30Z</dcterms:created>
  <dcterms:modified xsi:type="dcterms:W3CDTF">2021-11-08T06:1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09784F11E4364FBC2C8E1A01F0E840</vt:lpwstr>
  </property>
</Properties>
</file>